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962" r:id="rId4"/>
    <p:sldMasterId id="2147484048" r:id="rId5"/>
  </p:sldMasterIdLst>
  <p:notesMasterIdLst>
    <p:notesMasterId r:id="rId20"/>
  </p:notesMasterIdLst>
  <p:handoutMasterIdLst>
    <p:handoutMasterId r:id="rId21"/>
  </p:handoutMasterIdLst>
  <p:sldIdLst>
    <p:sldId id="2145706709" r:id="rId6"/>
    <p:sldId id="2145706656" r:id="rId7"/>
    <p:sldId id="2147470377" r:id="rId8"/>
    <p:sldId id="2147470378" r:id="rId9"/>
    <p:sldId id="2147470369" r:id="rId10"/>
    <p:sldId id="2147470370" r:id="rId11"/>
    <p:sldId id="2147470379" r:id="rId12"/>
    <p:sldId id="2147470373" r:id="rId13"/>
    <p:sldId id="2147470374" r:id="rId14"/>
    <p:sldId id="2147470375" r:id="rId15"/>
    <p:sldId id="304" r:id="rId16"/>
    <p:sldId id="2147470371" r:id="rId17"/>
    <p:sldId id="2147470372" r:id="rId18"/>
    <p:sldId id="2147470380" r:id="rId19"/>
  </p:sldIdLst>
  <p:sldSz cx="12192000" cy="6858000"/>
  <p:notesSz cx="6858000" cy="9144000"/>
  <p:embeddedFontLst>
    <p:embeddedFont>
      <p:font typeface="Aptos" panose="020B0004020202020204" pitchFamily="34" charset="0"/>
      <p:regular r:id="rId22"/>
      <p:bold r:id="rId23"/>
      <p:italic r:id="rId24"/>
      <p:boldItalic r:id="rId25"/>
    </p:embeddedFont>
    <p:embeddedFont>
      <p:font typeface="Century Gothic" panose="020B0502020202020204" pitchFamily="34" charset="0"/>
      <p:regular r:id="rId26"/>
      <p:bold r:id="rId27"/>
      <p:italic r:id="rId28"/>
      <p:boldItalic r:id="rId29"/>
    </p:embeddedFont>
    <p:embeddedFont>
      <p:font typeface="Trebuchet MS" panose="020B0603020202020204" pitchFamily="34" charset="0"/>
      <p:regular r:id="rId30"/>
      <p:bold r:id="rId31"/>
      <p:italic r:id="rId32"/>
      <p:boldItalic r:id="rId33"/>
    </p:embeddedFont>
    <p:embeddedFont>
      <p:font typeface="Ubuntu" panose="020B0504030602030204" pitchFamily="34" charset="0"/>
      <p:regular r:id="rId34"/>
      <p:bold r:id="rId35"/>
      <p:italic r:id="rId36"/>
      <p:boldItalic r:id="rId37"/>
    </p:embeddedFont>
    <p:embeddedFont>
      <p:font typeface="Ubuntu Light" panose="020B0304030602030204" pitchFamily="34" charset="0"/>
      <p:regular r:id="rId38"/>
      <p:italic r:id="rId39"/>
    </p:embeddedFont>
    <p:embeddedFont>
      <p:font typeface="Ubuntu Medium" panose="020B0604030602030204" pitchFamily="34" charset="0"/>
      <p:regular r:id="rId40"/>
      <p:italic r:id="rId41"/>
    </p:embeddedFont>
  </p:embeddedFontLst>
  <p:custDataLst>
    <p:tags r:id="rId4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4BC8"/>
    <a:srgbClr val="C6B4A6"/>
    <a:srgbClr val="050D18"/>
    <a:srgbClr val="FFFFFF"/>
    <a:srgbClr val="050C17"/>
    <a:srgbClr val="AC998A"/>
    <a:srgbClr val="CEE4F1"/>
    <a:srgbClr val="B8C0CA"/>
    <a:srgbClr val="383B4E"/>
    <a:srgbClr val="0038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7B98B7-C6E6-4DF6-B28F-741843295632}" v="103" dt="2024-02-29T07:56:12.3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3" autoAdjust="0"/>
  </p:normalViewPr>
  <p:slideViewPr>
    <p:cSldViewPr snapToGrid="0" snapToObjects="1">
      <p:cViewPr varScale="1">
        <p:scale>
          <a:sx n="113" d="100"/>
          <a:sy n="113" d="100"/>
        </p:scale>
        <p:origin x="510" y="102"/>
      </p:cViewPr>
      <p:guideLst/>
    </p:cSldViewPr>
  </p:slideViewPr>
  <p:outlineViewPr>
    <p:cViewPr>
      <p:scale>
        <a:sx n="33" d="100"/>
        <a:sy n="33" d="100"/>
      </p:scale>
      <p:origin x="0" y="-826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font" Target="fonts/font20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10.fntdata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presProps" Target="presProps.xml"/><Relationship Id="rId48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nkappan, Dilip" userId="e5546a62-cc74-4170-8055-d680bb142a65" providerId="ADAL" clId="{C70D5423-9894-413C-A19E-3BA76DF46D59}"/>
    <pc:docChg chg="undo custSel delSld modSld sldOrd">
      <pc:chgData name="Thankappan, Dilip" userId="e5546a62-cc74-4170-8055-d680bb142a65" providerId="ADAL" clId="{C70D5423-9894-413C-A19E-3BA76DF46D59}" dt="2023-08-17T08:37:40.829" v="650" actId="20578"/>
      <pc:docMkLst>
        <pc:docMk/>
      </pc:docMkLst>
      <pc:sldChg chg="del">
        <pc:chgData name="Thankappan, Dilip" userId="e5546a62-cc74-4170-8055-d680bb142a65" providerId="ADAL" clId="{C70D5423-9894-413C-A19E-3BA76DF46D59}" dt="2023-08-17T04:10:36.926" v="7" actId="47"/>
        <pc:sldMkLst>
          <pc:docMk/>
          <pc:sldMk cId="4185311788" sldId="2145706645"/>
        </pc:sldMkLst>
      </pc:sldChg>
      <pc:sldChg chg="del">
        <pc:chgData name="Thankappan, Dilip" userId="e5546a62-cc74-4170-8055-d680bb142a65" providerId="ADAL" clId="{C70D5423-9894-413C-A19E-3BA76DF46D59}" dt="2023-08-17T04:10:35.013" v="4" actId="47"/>
        <pc:sldMkLst>
          <pc:docMk/>
          <pc:sldMk cId="3799353831" sldId="2145706646"/>
        </pc:sldMkLst>
      </pc:sldChg>
      <pc:sldChg chg="del">
        <pc:chgData name="Thankappan, Dilip" userId="e5546a62-cc74-4170-8055-d680bb142a65" providerId="ADAL" clId="{C70D5423-9894-413C-A19E-3BA76DF46D59}" dt="2023-08-17T08:09:15.410" v="548" actId="47"/>
        <pc:sldMkLst>
          <pc:docMk/>
          <pc:sldMk cId="14229059" sldId="2145706656"/>
        </pc:sldMkLst>
      </pc:sldChg>
      <pc:sldChg chg="del">
        <pc:chgData name="Thankappan, Dilip" userId="e5546a62-cc74-4170-8055-d680bb142a65" providerId="ADAL" clId="{C70D5423-9894-413C-A19E-3BA76DF46D59}" dt="2023-08-17T04:10:36.173" v="6" actId="47"/>
        <pc:sldMkLst>
          <pc:docMk/>
          <pc:sldMk cId="3913809574" sldId="2145706658"/>
        </pc:sldMkLst>
      </pc:sldChg>
      <pc:sldChg chg="del">
        <pc:chgData name="Thankappan, Dilip" userId="e5546a62-cc74-4170-8055-d680bb142a65" providerId="ADAL" clId="{C70D5423-9894-413C-A19E-3BA76DF46D59}" dt="2023-08-17T04:10:34.636" v="2" actId="47"/>
        <pc:sldMkLst>
          <pc:docMk/>
          <pc:sldMk cId="980066152" sldId="2145706678"/>
        </pc:sldMkLst>
      </pc:sldChg>
      <pc:sldChg chg="del">
        <pc:chgData name="Thankappan, Dilip" userId="e5546a62-cc74-4170-8055-d680bb142a65" providerId="ADAL" clId="{C70D5423-9894-413C-A19E-3BA76DF46D59}" dt="2023-08-17T04:10:35.217" v="5" actId="47"/>
        <pc:sldMkLst>
          <pc:docMk/>
          <pc:sldMk cId="963337547" sldId="2145706681"/>
        </pc:sldMkLst>
      </pc:sldChg>
      <pc:sldChg chg="del">
        <pc:chgData name="Thankappan, Dilip" userId="e5546a62-cc74-4170-8055-d680bb142a65" providerId="ADAL" clId="{C70D5423-9894-413C-A19E-3BA76DF46D59}" dt="2023-08-17T04:10:30.321" v="1" actId="47"/>
        <pc:sldMkLst>
          <pc:docMk/>
          <pc:sldMk cId="1734943843" sldId="2145706685"/>
        </pc:sldMkLst>
      </pc:sldChg>
      <pc:sldChg chg="del">
        <pc:chgData name="Thankappan, Dilip" userId="e5546a62-cc74-4170-8055-d680bb142a65" providerId="ADAL" clId="{C70D5423-9894-413C-A19E-3BA76DF46D59}" dt="2023-08-17T08:09:11.765" v="547" actId="47"/>
        <pc:sldMkLst>
          <pc:docMk/>
          <pc:sldMk cId="729626391" sldId="2145706687"/>
        </pc:sldMkLst>
      </pc:sldChg>
      <pc:sldChg chg="del">
        <pc:chgData name="Thankappan, Dilip" userId="e5546a62-cc74-4170-8055-d680bb142a65" providerId="ADAL" clId="{C70D5423-9894-413C-A19E-3BA76DF46D59}" dt="2023-08-17T04:10:34.794" v="3" actId="47"/>
        <pc:sldMkLst>
          <pc:docMk/>
          <pc:sldMk cId="1539777811" sldId="2145706705"/>
        </pc:sldMkLst>
      </pc:sldChg>
      <pc:sldChg chg="modSp mod">
        <pc:chgData name="Thankappan, Dilip" userId="e5546a62-cc74-4170-8055-d680bb142a65" providerId="ADAL" clId="{C70D5423-9894-413C-A19E-3BA76DF46D59}" dt="2023-08-17T08:09:40.884" v="600" actId="20577"/>
        <pc:sldMkLst>
          <pc:docMk/>
          <pc:sldMk cId="3448401132" sldId="2145706709"/>
        </pc:sldMkLst>
        <pc:spChg chg="mod">
          <ac:chgData name="Thankappan, Dilip" userId="e5546a62-cc74-4170-8055-d680bb142a65" providerId="ADAL" clId="{C70D5423-9894-413C-A19E-3BA76DF46D59}" dt="2023-08-17T08:09:27.602" v="565" actId="20577"/>
          <ac:spMkLst>
            <pc:docMk/>
            <pc:sldMk cId="3448401132" sldId="2145706709"/>
            <ac:spMk id="7" creationId="{F47D54A4-C657-2E4C-48D2-E7F2D47A3186}"/>
          </ac:spMkLst>
        </pc:spChg>
        <pc:spChg chg="mod">
          <ac:chgData name="Thankappan, Dilip" userId="e5546a62-cc74-4170-8055-d680bb142a65" providerId="ADAL" clId="{C70D5423-9894-413C-A19E-3BA76DF46D59}" dt="2023-08-17T08:09:40.884" v="600" actId="20577"/>
          <ac:spMkLst>
            <pc:docMk/>
            <pc:sldMk cId="3448401132" sldId="2145706709"/>
            <ac:spMk id="8" creationId="{868CC9E0-899B-3209-F0BA-1710FF4AB92B}"/>
          </ac:spMkLst>
        </pc:spChg>
      </pc:sldChg>
      <pc:sldChg chg="del">
        <pc:chgData name="Thankappan, Dilip" userId="e5546a62-cc74-4170-8055-d680bb142a65" providerId="ADAL" clId="{C70D5423-9894-413C-A19E-3BA76DF46D59}" dt="2023-08-17T04:10:21.741" v="0" actId="47"/>
        <pc:sldMkLst>
          <pc:docMk/>
          <pc:sldMk cId="1392644209" sldId="2145706712"/>
        </pc:sldMkLst>
      </pc:sldChg>
      <pc:sldChg chg="addSp delSp modSp mod ord">
        <pc:chgData name="Thankappan, Dilip" userId="e5546a62-cc74-4170-8055-d680bb142a65" providerId="ADAL" clId="{C70D5423-9894-413C-A19E-3BA76DF46D59}" dt="2023-08-17T08:11:09.912" v="649" actId="20577"/>
        <pc:sldMkLst>
          <pc:docMk/>
          <pc:sldMk cId="2104925110" sldId="2145706714"/>
        </pc:sldMkLst>
        <pc:spChg chg="add mod">
          <ac:chgData name="Thankappan, Dilip" userId="e5546a62-cc74-4170-8055-d680bb142a65" providerId="ADAL" clId="{C70D5423-9894-413C-A19E-3BA76DF46D59}" dt="2023-08-17T05:14:35.290" v="287" actId="14100"/>
          <ac:spMkLst>
            <pc:docMk/>
            <pc:sldMk cId="2104925110" sldId="2145706714"/>
            <ac:spMk id="2" creationId="{D4366315-47D5-DB23-96E1-A3AC7FC337E5}"/>
          </ac:spMkLst>
        </pc:spChg>
        <pc:spChg chg="mod">
          <ac:chgData name="Thankappan, Dilip" userId="e5546a62-cc74-4170-8055-d680bb142a65" providerId="ADAL" clId="{C70D5423-9894-413C-A19E-3BA76DF46D59}" dt="2023-08-17T05:01:22.519" v="284" actId="5793"/>
          <ac:spMkLst>
            <pc:docMk/>
            <pc:sldMk cId="2104925110" sldId="2145706714"/>
            <ac:spMk id="3" creationId="{8454FD71-1B19-6FAE-3F6E-D40816477384}"/>
          </ac:spMkLst>
        </pc:spChg>
        <pc:spChg chg="del">
          <ac:chgData name="Thankappan, Dilip" userId="e5546a62-cc74-4170-8055-d680bb142a65" providerId="ADAL" clId="{C70D5423-9894-413C-A19E-3BA76DF46D59}" dt="2023-08-17T04:10:41.428" v="8" actId="478"/>
          <ac:spMkLst>
            <pc:docMk/>
            <pc:sldMk cId="2104925110" sldId="2145706714"/>
            <ac:spMk id="4" creationId="{9F4A1F5D-B8D4-6274-5413-FBEE49C6CC99}"/>
          </ac:spMkLst>
        </pc:spChg>
        <pc:spChg chg="add mod">
          <ac:chgData name="Thankappan, Dilip" userId="e5546a62-cc74-4170-8055-d680bb142a65" providerId="ADAL" clId="{C70D5423-9894-413C-A19E-3BA76DF46D59}" dt="2023-08-17T05:14:29.763" v="286" actId="14100"/>
          <ac:spMkLst>
            <pc:docMk/>
            <pc:sldMk cId="2104925110" sldId="2145706714"/>
            <ac:spMk id="5" creationId="{824F1F0A-7AC5-3FAE-C13B-1D0953D4DDBD}"/>
          </ac:spMkLst>
        </pc:spChg>
        <pc:spChg chg="add mod">
          <ac:chgData name="Thankappan, Dilip" userId="e5546a62-cc74-4170-8055-d680bb142a65" providerId="ADAL" clId="{C70D5423-9894-413C-A19E-3BA76DF46D59}" dt="2023-08-17T04:31:07.041" v="201" actId="1076"/>
          <ac:spMkLst>
            <pc:docMk/>
            <pc:sldMk cId="2104925110" sldId="2145706714"/>
            <ac:spMk id="6" creationId="{93662142-97A4-EE79-F742-D086570F2260}"/>
          </ac:spMkLst>
        </pc:spChg>
        <pc:spChg chg="add mod">
          <ac:chgData name="Thankappan, Dilip" userId="e5546a62-cc74-4170-8055-d680bb142a65" providerId="ADAL" clId="{C70D5423-9894-413C-A19E-3BA76DF46D59}" dt="2023-08-17T04:31:07.041" v="201" actId="1076"/>
          <ac:spMkLst>
            <pc:docMk/>
            <pc:sldMk cId="2104925110" sldId="2145706714"/>
            <ac:spMk id="7" creationId="{BBF4C7A5-0551-D0BF-5CA4-8398EB5022F8}"/>
          </ac:spMkLst>
        </pc:spChg>
        <pc:spChg chg="add mod">
          <ac:chgData name="Thankappan, Dilip" userId="e5546a62-cc74-4170-8055-d680bb142a65" providerId="ADAL" clId="{C70D5423-9894-413C-A19E-3BA76DF46D59}" dt="2023-08-17T05:14:27.111" v="285" actId="14100"/>
          <ac:spMkLst>
            <pc:docMk/>
            <pc:sldMk cId="2104925110" sldId="2145706714"/>
            <ac:spMk id="8" creationId="{5E6DEFE7-B2C3-03D9-9837-06EE58F1D1C7}"/>
          </ac:spMkLst>
        </pc:spChg>
        <pc:spChg chg="add mod">
          <ac:chgData name="Thankappan, Dilip" userId="e5546a62-cc74-4170-8055-d680bb142a65" providerId="ADAL" clId="{C70D5423-9894-413C-A19E-3BA76DF46D59}" dt="2023-08-17T04:31:12.346" v="202" actId="1076"/>
          <ac:spMkLst>
            <pc:docMk/>
            <pc:sldMk cId="2104925110" sldId="2145706714"/>
            <ac:spMk id="17" creationId="{D931BB70-CA11-07C9-C9C4-1E33F537F456}"/>
          </ac:spMkLst>
        </pc:spChg>
        <pc:spChg chg="add del mod">
          <ac:chgData name="Thankappan, Dilip" userId="e5546a62-cc74-4170-8055-d680bb142a65" providerId="ADAL" clId="{C70D5423-9894-413C-A19E-3BA76DF46D59}" dt="2023-08-17T04:40:24.511" v="229" actId="478"/>
          <ac:spMkLst>
            <pc:docMk/>
            <pc:sldMk cId="2104925110" sldId="2145706714"/>
            <ac:spMk id="50" creationId="{26AD0722-E80A-B63F-AD3C-E954C5453094}"/>
          </ac:spMkLst>
        </pc:spChg>
        <pc:spChg chg="add mod">
          <ac:chgData name="Thankappan, Dilip" userId="e5546a62-cc74-4170-8055-d680bb142a65" providerId="ADAL" clId="{C70D5423-9894-413C-A19E-3BA76DF46D59}" dt="2023-08-17T04:43:41.112" v="268" actId="1076"/>
          <ac:spMkLst>
            <pc:docMk/>
            <pc:sldMk cId="2104925110" sldId="2145706714"/>
            <ac:spMk id="53" creationId="{D3710E44-6C05-4DF5-A6BF-017DE430C79F}"/>
          </ac:spMkLst>
        </pc:spChg>
        <pc:spChg chg="add del mod">
          <ac:chgData name="Thankappan, Dilip" userId="e5546a62-cc74-4170-8055-d680bb142a65" providerId="ADAL" clId="{C70D5423-9894-413C-A19E-3BA76DF46D59}" dt="2023-08-17T05:15:36.932" v="315" actId="478"/>
          <ac:spMkLst>
            <pc:docMk/>
            <pc:sldMk cId="2104925110" sldId="2145706714"/>
            <ac:spMk id="60" creationId="{4C508839-DE89-45D7-CEF9-93683DECEC0A}"/>
          </ac:spMkLst>
        </pc:spChg>
        <pc:spChg chg="add mod">
          <ac:chgData name="Thankappan, Dilip" userId="e5546a62-cc74-4170-8055-d680bb142a65" providerId="ADAL" clId="{C70D5423-9894-413C-A19E-3BA76DF46D59}" dt="2023-08-17T08:10:48.916" v="622" actId="20577"/>
          <ac:spMkLst>
            <pc:docMk/>
            <pc:sldMk cId="2104925110" sldId="2145706714"/>
            <ac:spMk id="61" creationId="{A7CDF250-B01C-50E2-174F-0F95A3B50971}"/>
          </ac:spMkLst>
        </pc:spChg>
        <pc:spChg chg="add mod">
          <ac:chgData name="Thankappan, Dilip" userId="e5546a62-cc74-4170-8055-d680bb142a65" providerId="ADAL" clId="{C70D5423-9894-413C-A19E-3BA76DF46D59}" dt="2023-08-17T08:11:09.912" v="649" actId="20577"/>
          <ac:spMkLst>
            <pc:docMk/>
            <pc:sldMk cId="2104925110" sldId="2145706714"/>
            <ac:spMk id="62" creationId="{05F8B878-DF75-0A42-3D8F-E79664239C57}"/>
          </ac:spMkLst>
        </pc:spChg>
        <pc:picChg chg="add mod">
          <ac:chgData name="Thankappan, Dilip" userId="e5546a62-cc74-4170-8055-d680bb142a65" providerId="ADAL" clId="{C70D5423-9894-413C-A19E-3BA76DF46D59}" dt="2023-08-17T04:35:48.551" v="218" actId="1076"/>
          <ac:picMkLst>
            <pc:docMk/>
            <pc:sldMk cId="2104925110" sldId="2145706714"/>
            <ac:picMk id="25" creationId="{4710916A-1AD7-2415-BDE1-0AADDC767F77}"/>
          </ac:picMkLst>
        </pc:picChg>
        <pc:picChg chg="add mod">
          <ac:chgData name="Thankappan, Dilip" userId="e5546a62-cc74-4170-8055-d680bb142a65" providerId="ADAL" clId="{C70D5423-9894-413C-A19E-3BA76DF46D59}" dt="2023-08-17T04:35:43.511" v="217" actId="1076"/>
          <ac:picMkLst>
            <pc:docMk/>
            <pc:sldMk cId="2104925110" sldId="2145706714"/>
            <ac:picMk id="38" creationId="{CFDD640A-9A9B-D772-8390-E93D3E6D0760}"/>
          </ac:picMkLst>
        </pc:picChg>
        <pc:picChg chg="add mod">
          <ac:chgData name="Thankappan, Dilip" userId="e5546a62-cc74-4170-8055-d680bb142a65" providerId="ADAL" clId="{C70D5423-9894-413C-A19E-3BA76DF46D59}" dt="2023-08-17T04:35:41.863" v="216" actId="1076"/>
          <ac:picMkLst>
            <pc:docMk/>
            <pc:sldMk cId="2104925110" sldId="2145706714"/>
            <ac:picMk id="40" creationId="{DCBC2D24-9B4C-A17C-9F24-8873E8940ADD}"/>
          </ac:picMkLst>
        </pc:picChg>
        <pc:picChg chg="add mod">
          <ac:chgData name="Thankappan, Dilip" userId="e5546a62-cc74-4170-8055-d680bb142a65" providerId="ADAL" clId="{C70D5423-9894-413C-A19E-3BA76DF46D59}" dt="2023-08-17T04:37:03.678" v="225" actId="1076"/>
          <ac:picMkLst>
            <pc:docMk/>
            <pc:sldMk cId="2104925110" sldId="2145706714"/>
            <ac:picMk id="47" creationId="{2224E65C-5C9B-4A5D-A581-F5032F09D7CB}"/>
          </ac:picMkLst>
        </pc:picChg>
        <pc:picChg chg="add del mod">
          <ac:chgData name="Thankappan, Dilip" userId="e5546a62-cc74-4170-8055-d680bb142a65" providerId="ADAL" clId="{C70D5423-9894-413C-A19E-3BA76DF46D59}" dt="2023-08-17T04:40:24.511" v="229" actId="478"/>
          <ac:picMkLst>
            <pc:docMk/>
            <pc:sldMk cId="2104925110" sldId="2145706714"/>
            <ac:picMk id="49" creationId="{C5569A55-9D7A-1619-375A-9B195273D071}"/>
          </ac:picMkLst>
        </pc:picChg>
        <pc:picChg chg="add mod">
          <ac:chgData name="Thankappan, Dilip" userId="e5546a62-cc74-4170-8055-d680bb142a65" providerId="ADAL" clId="{C70D5423-9894-413C-A19E-3BA76DF46D59}" dt="2023-08-17T04:42:42.045" v="238" actId="1076"/>
          <ac:picMkLst>
            <pc:docMk/>
            <pc:sldMk cId="2104925110" sldId="2145706714"/>
            <ac:picMk id="52" creationId="{2651D5C9-6466-82E2-A419-02D6660AAB88}"/>
          </ac:picMkLst>
        </pc:picChg>
        <pc:cxnChg chg="add mod">
          <ac:chgData name="Thankappan, Dilip" userId="e5546a62-cc74-4170-8055-d680bb142a65" providerId="ADAL" clId="{C70D5423-9894-413C-A19E-3BA76DF46D59}" dt="2023-08-17T05:14:35.290" v="287" actId="14100"/>
          <ac:cxnSpMkLst>
            <pc:docMk/>
            <pc:sldMk cId="2104925110" sldId="2145706714"/>
            <ac:cxnSpMk id="10" creationId="{1FFADF25-FEDA-05EE-6968-CA92A98099E5}"/>
          </ac:cxnSpMkLst>
        </pc:cxnChg>
        <pc:cxnChg chg="add mod">
          <ac:chgData name="Thankappan, Dilip" userId="e5546a62-cc74-4170-8055-d680bb142a65" providerId="ADAL" clId="{C70D5423-9894-413C-A19E-3BA76DF46D59}" dt="2023-08-17T05:14:29.763" v="286" actId="14100"/>
          <ac:cxnSpMkLst>
            <pc:docMk/>
            <pc:sldMk cId="2104925110" sldId="2145706714"/>
            <ac:cxnSpMk id="12" creationId="{0E22BA07-131D-2A4A-FD22-259DFC66A4D3}"/>
          </ac:cxnSpMkLst>
        </pc:cxnChg>
        <pc:cxnChg chg="add mod">
          <ac:chgData name="Thankappan, Dilip" userId="e5546a62-cc74-4170-8055-d680bb142a65" providerId="ADAL" clId="{C70D5423-9894-413C-A19E-3BA76DF46D59}" dt="2023-08-17T04:31:07.041" v="201" actId="1076"/>
          <ac:cxnSpMkLst>
            <pc:docMk/>
            <pc:sldMk cId="2104925110" sldId="2145706714"/>
            <ac:cxnSpMk id="14" creationId="{E45509E1-8FCE-D12A-1D87-7D9E6CB8759C}"/>
          </ac:cxnSpMkLst>
        </pc:cxnChg>
        <pc:cxnChg chg="add mod">
          <ac:chgData name="Thankappan, Dilip" userId="e5546a62-cc74-4170-8055-d680bb142a65" providerId="ADAL" clId="{C70D5423-9894-413C-A19E-3BA76DF46D59}" dt="2023-08-17T05:14:27.111" v="285" actId="14100"/>
          <ac:cxnSpMkLst>
            <pc:docMk/>
            <pc:sldMk cId="2104925110" sldId="2145706714"/>
            <ac:cxnSpMk id="16" creationId="{BF26E0F6-1CFB-51D4-163A-307A3E1B14D5}"/>
          </ac:cxnSpMkLst>
        </pc:cxnChg>
        <pc:cxnChg chg="add mod">
          <ac:chgData name="Thankappan, Dilip" userId="e5546a62-cc74-4170-8055-d680bb142a65" providerId="ADAL" clId="{C70D5423-9894-413C-A19E-3BA76DF46D59}" dt="2023-08-17T05:00:49.789" v="269" actId="14100"/>
          <ac:cxnSpMkLst>
            <pc:docMk/>
            <pc:sldMk cId="2104925110" sldId="2145706714"/>
            <ac:cxnSpMk id="19" creationId="{15F8E061-7ED5-723E-9D77-C209A6861D3E}"/>
          </ac:cxnSpMkLst>
        </pc:cxnChg>
        <pc:cxnChg chg="add mod">
          <ac:chgData name="Thankappan, Dilip" userId="e5546a62-cc74-4170-8055-d680bb142a65" providerId="ADAL" clId="{C70D5423-9894-413C-A19E-3BA76DF46D59}" dt="2023-08-17T05:00:49.789" v="269" actId="14100"/>
          <ac:cxnSpMkLst>
            <pc:docMk/>
            <pc:sldMk cId="2104925110" sldId="2145706714"/>
            <ac:cxnSpMk id="20" creationId="{2C37644F-0B63-D092-3DE9-AE00B224DFD9}"/>
          </ac:cxnSpMkLst>
        </pc:cxnChg>
        <pc:cxnChg chg="add mod">
          <ac:chgData name="Thankappan, Dilip" userId="e5546a62-cc74-4170-8055-d680bb142a65" providerId="ADAL" clId="{C70D5423-9894-413C-A19E-3BA76DF46D59}" dt="2023-08-17T05:00:49.789" v="269" actId="14100"/>
          <ac:cxnSpMkLst>
            <pc:docMk/>
            <pc:sldMk cId="2104925110" sldId="2145706714"/>
            <ac:cxnSpMk id="21" creationId="{27966F96-8AB1-9378-28ED-81C234AC0D89}"/>
          </ac:cxnSpMkLst>
        </pc:cxnChg>
        <pc:cxnChg chg="add del mod">
          <ac:chgData name="Thankappan, Dilip" userId="e5546a62-cc74-4170-8055-d680bb142a65" providerId="ADAL" clId="{C70D5423-9894-413C-A19E-3BA76DF46D59}" dt="2023-08-17T04:30:32.164" v="198" actId="478"/>
          <ac:cxnSpMkLst>
            <pc:docMk/>
            <pc:sldMk cId="2104925110" sldId="2145706714"/>
            <ac:cxnSpMk id="22" creationId="{3BCFFF3D-13BC-96B5-17F2-FBF732B1B5ED}"/>
          </ac:cxnSpMkLst>
        </pc:cxnChg>
        <pc:cxnChg chg="add del mod">
          <ac:chgData name="Thankappan, Dilip" userId="e5546a62-cc74-4170-8055-d680bb142a65" providerId="ADAL" clId="{C70D5423-9894-413C-A19E-3BA76DF46D59}" dt="2023-08-17T04:30:29.509" v="197" actId="478"/>
          <ac:cxnSpMkLst>
            <pc:docMk/>
            <pc:sldMk cId="2104925110" sldId="2145706714"/>
            <ac:cxnSpMk id="23" creationId="{A24332A9-53D3-9973-A414-1D7F548EC50C}"/>
          </ac:cxnSpMkLst>
        </pc:cxnChg>
        <pc:cxnChg chg="add">
          <ac:chgData name="Thankappan, Dilip" userId="e5546a62-cc74-4170-8055-d680bb142a65" providerId="ADAL" clId="{C70D5423-9894-413C-A19E-3BA76DF46D59}" dt="2023-08-17T04:36:03.277" v="219" actId="11529"/>
          <ac:cxnSpMkLst>
            <pc:docMk/>
            <pc:sldMk cId="2104925110" sldId="2145706714"/>
            <ac:cxnSpMk id="42" creationId="{3A8023A2-86D4-514D-91D9-6D2D91DDA2A0}"/>
          </ac:cxnSpMkLst>
        </pc:cxnChg>
        <pc:cxnChg chg="add">
          <ac:chgData name="Thankappan, Dilip" userId="e5546a62-cc74-4170-8055-d680bb142a65" providerId="ADAL" clId="{C70D5423-9894-413C-A19E-3BA76DF46D59}" dt="2023-08-17T04:36:11.427" v="220" actId="11529"/>
          <ac:cxnSpMkLst>
            <pc:docMk/>
            <pc:sldMk cId="2104925110" sldId="2145706714"/>
            <ac:cxnSpMk id="44" creationId="{9E8A551E-2475-CFE8-D9A1-B1F923A38991}"/>
          </ac:cxnSpMkLst>
        </pc:cxnChg>
        <pc:cxnChg chg="add">
          <ac:chgData name="Thankappan, Dilip" userId="e5546a62-cc74-4170-8055-d680bb142a65" providerId="ADAL" clId="{C70D5423-9894-413C-A19E-3BA76DF46D59}" dt="2023-08-17T04:36:20.021" v="221" actId="11529"/>
          <ac:cxnSpMkLst>
            <pc:docMk/>
            <pc:sldMk cId="2104925110" sldId="2145706714"/>
            <ac:cxnSpMk id="46" creationId="{ABD78C9D-FCC3-08F9-284C-55C282949A27}"/>
          </ac:cxnSpMkLst>
        </pc:cxnChg>
      </pc:sldChg>
      <pc:sldChg chg="modSp mod">
        <pc:chgData name="Thankappan, Dilip" userId="e5546a62-cc74-4170-8055-d680bb142a65" providerId="ADAL" clId="{C70D5423-9894-413C-A19E-3BA76DF46D59}" dt="2023-08-17T08:37:40.829" v="650" actId="20578"/>
        <pc:sldMkLst>
          <pc:docMk/>
          <pc:sldMk cId="3936584393" sldId="2145706715"/>
        </pc:sldMkLst>
        <pc:spChg chg="mod">
          <ac:chgData name="Thankappan, Dilip" userId="e5546a62-cc74-4170-8055-d680bb142a65" providerId="ADAL" clId="{C70D5423-9894-413C-A19E-3BA76DF46D59}" dt="2023-08-17T05:16:32.587" v="330" actId="20577"/>
          <ac:spMkLst>
            <pc:docMk/>
            <pc:sldMk cId="3936584393" sldId="2145706715"/>
            <ac:spMk id="4" creationId="{EB06194E-CE7E-7C0B-9591-57287354B4EA}"/>
          </ac:spMkLst>
        </pc:spChg>
        <pc:spChg chg="mod">
          <ac:chgData name="Thankappan, Dilip" userId="e5546a62-cc74-4170-8055-d680bb142a65" providerId="ADAL" clId="{C70D5423-9894-413C-A19E-3BA76DF46D59}" dt="2023-08-17T08:37:40.829" v="650" actId="20578"/>
          <ac:spMkLst>
            <pc:docMk/>
            <pc:sldMk cId="3936584393" sldId="2145706715"/>
            <ac:spMk id="5" creationId="{5755F1CB-62BF-FF6F-CCA2-C04472263980}"/>
          </ac:spMkLst>
        </pc:spChg>
        <pc:spChg chg="mod">
          <ac:chgData name="Thankappan, Dilip" userId="e5546a62-cc74-4170-8055-d680bb142a65" providerId="ADAL" clId="{C70D5423-9894-413C-A19E-3BA76DF46D59}" dt="2023-08-17T05:16:53.482" v="367" actId="20577"/>
          <ac:spMkLst>
            <pc:docMk/>
            <pc:sldMk cId="3936584393" sldId="2145706715"/>
            <ac:spMk id="6" creationId="{7D1BE7BE-5C7F-C887-8146-3ED0715B89F9}"/>
          </ac:spMkLst>
        </pc:spChg>
      </pc:sldChg>
      <pc:sldChg chg="del">
        <pc:chgData name="Thankappan, Dilip" userId="e5546a62-cc74-4170-8055-d680bb142a65" providerId="ADAL" clId="{C70D5423-9894-413C-A19E-3BA76DF46D59}" dt="2023-08-17T08:09:10.117" v="546" actId="47"/>
        <pc:sldMkLst>
          <pc:docMk/>
          <pc:sldMk cId="3539633548" sldId="2145706716"/>
        </pc:sldMkLst>
      </pc:sldChg>
      <pc:sldMasterChg chg="delSldLayout">
        <pc:chgData name="Thankappan, Dilip" userId="e5546a62-cc74-4170-8055-d680bb142a65" providerId="ADAL" clId="{C70D5423-9894-413C-A19E-3BA76DF46D59}" dt="2023-08-17T08:09:11.765" v="547" actId="47"/>
        <pc:sldMasterMkLst>
          <pc:docMk/>
          <pc:sldMasterMk cId="1901136218" sldId="2147483962"/>
        </pc:sldMasterMkLst>
        <pc:sldLayoutChg chg="del">
          <pc:chgData name="Thankappan, Dilip" userId="e5546a62-cc74-4170-8055-d680bb142a65" providerId="ADAL" clId="{C70D5423-9894-413C-A19E-3BA76DF46D59}" dt="2023-08-17T08:09:11.765" v="547" actId="47"/>
          <pc:sldLayoutMkLst>
            <pc:docMk/>
            <pc:sldMasterMk cId="1901136218" sldId="2147483962"/>
            <pc:sldLayoutMk cId="3377601726" sldId="2147483979"/>
          </pc:sldLayoutMkLst>
        </pc:sldLayoutChg>
      </pc:sldMasterChg>
    </pc:docChg>
  </pc:docChgLst>
  <pc:docChgLst>
    <pc:chgData name="Thankappan, Dilip" userId="e5546a62-cc74-4170-8055-d680bb142a65" providerId="ADAL" clId="{8E27C245-03AF-4095-BA28-C6778FA4259C}"/>
    <pc:docChg chg="custSel addSld delSld modSld sldOrd">
      <pc:chgData name="Thankappan, Dilip" userId="e5546a62-cc74-4170-8055-d680bb142a65" providerId="ADAL" clId="{8E27C245-03AF-4095-BA28-C6778FA4259C}" dt="2024-02-02T13:23:33.339" v="426"/>
      <pc:docMkLst>
        <pc:docMk/>
      </pc:docMkLst>
      <pc:sldChg chg="add ord">
        <pc:chgData name="Thankappan, Dilip" userId="e5546a62-cc74-4170-8055-d680bb142a65" providerId="ADAL" clId="{8E27C245-03AF-4095-BA28-C6778FA4259C}" dt="2024-02-02T13:23:33.339" v="426"/>
        <pc:sldMkLst>
          <pc:docMk/>
          <pc:sldMk cId="487208584" sldId="1321721637"/>
        </pc:sldMkLst>
      </pc:sldChg>
      <pc:sldChg chg="delSp del mod">
        <pc:chgData name="Thankappan, Dilip" userId="e5546a62-cc74-4170-8055-d680bb142a65" providerId="ADAL" clId="{8E27C245-03AF-4095-BA28-C6778FA4259C}" dt="2024-02-02T12:51:00.180" v="111" actId="47"/>
        <pc:sldMkLst>
          <pc:docMk/>
          <pc:sldMk cId="3857635628" sldId="2147470366"/>
        </pc:sldMkLst>
        <pc:graphicFrameChg chg="del">
          <ac:chgData name="Thankappan, Dilip" userId="e5546a62-cc74-4170-8055-d680bb142a65" providerId="ADAL" clId="{8E27C245-03AF-4095-BA28-C6778FA4259C}" dt="2024-02-02T12:36:14.497" v="0" actId="478"/>
          <ac:graphicFrameMkLst>
            <pc:docMk/>
            <pc:sldMk cId="3857635628" sldId="2147470366"/>
            <ac:graphicFrameMk id="50" creationId="{EC2CD7F1-C71D-B602-38B7-B46EA26AF694}"/>
          </ac:graphicFrameMkLst>
        </pc:graphicFrameChg>
      </pc:sldChg>
      <pc:sldChg chg="addSp modSp mod ord">
        <pc:chgData name="Thankappan, Dilip" userId="e5546a62-cc74-4170-8055-d680bb142a65" providerId="ADAL" clId="{8E27C245-03AF-4095-BA28-C6778FA4259C}" dt="2024-02-02T12:56:23.737" v="396" actId="5793"/>
        <pc:sldMkLst>
          <pc:docMk/>
          <pc:sldMk cId="816208619" sldId="2147470367"/>
        </pc:sldMkLst>
        <pc:spChg chg="add mod">
          <ac:chgData name="Thankappan, Dilip" userId="e5546a62-cc74-4170-8055-d680bb142a65" providerId="ADAL" clId="{8E27C245-03AF-4095-BA28-C6778FA4259C}" dt="2024-02-02T12:53:02.576" v="163" actId="20577"/>
          <ac:spMkLst>
            <pc:docMk/>
            <pc:sldMk cId="816208619" sldId="2147470367"/>
            <ac:spMk id="5" creationId="{09281EEA-73E7-09E7-3C50-2B1FE637CD86}"/>
          </ac:spMkLst>
        </pc:spChg>
        <pc:spChg chg="add mod">
          <ac:chgData name="Thankappan, Dilip" userId="e5546a62-cc74-4170-8055-d680bb142a65" providerId="ADAL" clId="{8E27C245-03AF-4095-BA28-C6778FA4259C}" dt="2024-02-02T12:53:18.022" v="166" actId="20577"/>
          <ac:spMkLst>
            <pc:docMk/>
            <pc:sldMk cId="816208619" sldId="2147470367"/>
            <ac:spMk id="6" creationId="{CA80DCA0-7DED-DAFC-B903-96DA7C1BF677}"/>
          </ac:spMkLst>
        </pc:spChg>
        <pc:spChg chg="add mod">
          <ac:chgData name="Thankappan, Dilip" userId="e5546a62-cc74-4170-8055-d680bb142a65" providerId="ADAL" clId="{8E27C245-03AF-4095-BA28-C6778FA4259C}" dt="2024-02-02T12:53:31.125" v="169" actId="20577"/>
          <ac:spMkLst>
            <pc:docMk/>
            <pc:sldMk cId="816208619" sldId="2147470367"/>
            <ac:spMk id="7" creationId="{DEA9E227-2C16-C308-82B9-3FA2C8A8F0FF}"/>
          </ac:spMkLst>
        </pc:spChg>
        <pc:spChg chg="add mod">
          <ac:chgData name="Thankappan, Dilip" userId="e5546a62-cc74-4170-8055-d680bb142a65" providerId="ADAL" clId="{8E27C245-03AF-4095-BA28-C6778FA4259C}" dt="2024-02-02T12:54:50.464" v="243" actId="1076"/>
          <ac:spMkLst>
            <pc:docMk/>
            <pc:sldMk cId="816208619" sldId="2147470367"/>
            <ac:spMk id="8" creationId="{0AA9ADFE-B2E0-43C8-6921-FCD9F1F401AC}"/>
          </ac:spMkLst>
        </pc:spChg>
        <pc:spChg chg="add mod">
          <ac:chgData name="Thankappan, Dilip" userId="e5546a62-cc74-4170-8055-d680bb142a65" providerId="ADAL" clId="{8E27C245-03AF-4095-BA28-C6778FA4259C}" dt="2024-02-02T12:56:23.737" v="396" actId="5793"/>
          <ac:spMkLst>
            <pc:docMk/>
            <pc:sldMk cId="816208619" sldId="2147470367"/>
            <ac:spMk id="9" creationId="{4E5D63DA-A339-A859-9C2F-B66AEA76B9EA}"/>
          </ac:spMkLst>
        </pc:spChg>
        <pc:graphicFrameChg chg="modGraphic">
          <ac:chgData name="Thankappan, Dilip" userId="e5546a62-cc74-4170-8055-d680bb142a65" providerId="ADAL" clId="{8E27C245-03AF-4095-BA28-C6778FA4259C}" dt="2024-02-02T12:51:37.865" v="117" actId="14100"/>
          <ac:graphicFrameMkLst>
            <pc:docMk/>
            <pc:sldMk cId="816208619" sldId="2147470367"/>
            <ac:graphicFrameMk id="3" creationId="{C23362A2-CE0C-218F-B671-0C6367D6193B}"/>
          </ac:graphicFrameMkLst>
        </pc:graphicFrameChg>
        <pc:graphicFrameChg chg="add mod modGraphic">
          <ac:chgData name="Thankappan, Dilip" userId="e5546a62-cc74-4170-8055-d680bb142a65" providerId="ADAL" clId="{8E27C245-03AF-4095-BA28-C6778FA4259C}" dt="2024-02-02T12:52:43.750" v="161" actId="1076"/>
          <ac:graphicFrameMkLst>
            <pc:docMk/>
            <pc:sldMk cId="816208619" sldId="2147470367"/>
            <ac:graphicFrameMk id="4" creationId="{B1979178-F71F-6327-9E07-5C7352D5AA5B}"/>
          </ac:graphicFrameMkLst>
        </pc:graphicFrameChg>
      </pc:sldChg>
      <pc:sldChg chg="modSp mod">
        <pc:chgData name="Thankappan, Dilip" userId="e5546a62-cc74-4170-8055-d680bb142a65" providerId="ADAL" clId="{8E27C245-03AF-4095-BA28-C6778FA4259C}" dt="2024-02-02T12:59:48.435" v="422" actId="5793"/>
        <pc:sldMkLst>
          <pc:docMk/>
          <pc:sldMk cId="76726104" sldId="2147470368"/>
        </pc:sldMkLst>
        <pc:spChg chg="mod">
          <ac:chgData name="Thankappan, Dilip" userId="e5546a62-cc74-4170-8055-d680bb142a65" providerId="ADAL" clId="{8E27C245-03AF-4095-BA28-C6778FA4259C}" dt="2024-02-02T12:51:13.766" v="114" actId="20577"/>
          <ac:spMkLst>
            <pc:docMk/>
            <pc:sldMk cId="76726104" sldId="2147470368"/>
            <ac:spMk id="2" creationId="{1F77389B-F5A5-6E7B-ACE1-0D9B54A80C4B}"/>
          </ac:spMkLst>
        </pc:spChg>
        <pc:spChg chg="mod">
          <ac:chgData name="Thankappan, Dilip" userId="e5546a62-cc74-4170-8055-d680bb142a65" providerId="ADAL" clId="{8E27C245-03AF-4095-BA28-C6778FA4259C}" dt="2024-02-02T12:59:48.435" v="422" actId="5793"/>
          <ac:spMkLst>
            <pc:docMk/>
            <pc:sldMk cId="76726104" sldId="2147470368"/>
            <ac:spMk id="3" creationId="{2E1FD47C-52A3-2F17-E2DA-5AABA19AF564}"/>
          </ac:spMkLst>
        </pc:spChg>
      </pc:sldChg>
      <pc:sldChg chg="addSp delSp modSp mod">
        <pc:chgData name="Thankappan, Dilip" userId="e5546a62-cc74-4170-8055-d680bb142a65" providerId="ADAL" clId="{8E27C245-03AF-4095-BA28-C6778FA4259C}" dt="2024-02-02T12:50:35.040" v="110" actId="1076"/>
        <pc:sldMkLst>
          <pc:docMk/>
          <pc:sldMk cId="575587304" sldId="2147470369"/>
        </pc:sldMkLst>
        <pc:spChg chg="mod">
          <ac:chgData name="Thankappan, Dilip" userId="e5546a62-cc74-4170-8055-d680bb142a65" providerId="ADAL" clId="{8E27C245-03AF-4095-BA28-C6778FA4259C}" dt="2024-02-02T12:48:11.537" v="95" actId="20577"/>
          <ac:spMkLst>
            <pc:docMk/>
            <pc:sldMk cId="575587304" sldId="2147470369"/>
            <ac:spMk id="2" creationId="{8C419BE4-CF3A-F5B7-3FBB-CD283329E2FB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3" creationId="{FEC2A979-F175-A78E-8D42-029479AFA43E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4" creationId="{3AE107D4-4934-BCF9-1590-14BA1AE0CD96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5" creationId="{E74DA556-1147-E397-7DD0-8828E350AB28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6" creationId="{036D174A-CA26-E26D-C81B-26A6C4130394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7" creationId="{E4C5E3E7-19A4-3DCD-A8B4-DB3743C7D424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8" creationId="{0EFA5A25-3B8C-438F-B677-CF7AFF33937A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9" creationId="{F1F29164-D2E9-5F85-037C-01B89EE41C2F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10" creationId="{F2647807-D019-E797-048F-B18950775972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11" creationId="{7804D2A0-78AE-76BF-0524-142FC05D8B5E}"/>
          </ac:spMkLst>
        </pc:spChg>
        <pc:spChg chg="del mod">
          <ac:chgData name="Thankappan, Dilip" userId="e5546a62-cc74-4170-8055-d680bb142a65" providerId="ADAL" clId="{8E27C245-03AF-4095-BA28-C6778FA4259C}" dt="2024-02-02T12:49:03.212" v="99" actId="478"/>
          <ac:spMkLst>
            <pc:docMk/>
            <pc:sldMk cId="575587304" sldId="2147470369"/>
            <ac:spMk id="18" creationId="{FFF35607-0833-7CD1-9F7C-507B12C04C35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21" creationId="{F2976AF9-7C5A-1B83-B919-B2A0D285E4F6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23" creationId="{02356F00-8706-337C-77D1-F64C5E064C4D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24" creationId="{DAC98CB8-5E7B-68C2-F014-DC4664283BD6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25" creationId="{DD43149B-ACCC-7C1F-25F3-6B7028262AE4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29" creationId="{0BCDE872-B501-6940-5C8E-01B948571100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31" creationId="{E2122960-F53D-9C3C-BD62-A192FC59A808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33" creationId="{1770A419-BCBE-9E0E-1641-986D12978929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34" creationId="{4A6D613B-6ADB-34E5-24DD-6621DF49FDBC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35" creationId="{52851935-7D5A-0798-0FE4-6E623CF8B225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36" creationId="{8EFFCBF4-4A63-C6E1-21AF-E64227CEF31A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38" creationId="{9C624B17-082F-A823-CE30-BDFBA6008D2B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40" creationId="{E66EFDCB-0E50-8406-2BC2-162FA6CF8D96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41" creationId="{DFB4A838-918D-CEC9-DB33-0D723C2766D0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42" creationId="{BE40BF87-F43F-64EE-279C-7054EACB424C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44" creationId="{EF66A45F-8002-981A-B01C-90682A2887CF}"/>
          </ac:spMkLst>
        </pc:spChg>
        <pc:spChg chg="del">
          <ac:chgData name="Thankappan, Dilip" userId="e5546a62-cc74-4170-8055-d680bb142a65" providerId="ADAL" clId="{8E27C245-03AF-4095-BA28-C6778FA4259C}" dt="2024-02-02T12:36:58.539" v="4" actId="478"/>
          <ac:spMkLst>
            <pc:docMk/>
            <pc:sldMk cId="575587304" sldId="2147470369"/>
            <ac:spMk id="45" creationId="{2359EBA0-6E7D-F249-9409-859D1CF35D98}"/>
          </ac:spMkLst>
        </pc:spChg>
        <pc:spChg chg="del">
          <ac:chgData name="Thankappan, Dilip" userId="e5546a62-cc74-4170-8055-d680bb142a65" providerId="ADAL" clId="{8E27C245-03AF-4095-BA28-C6778FA4259C}" dt="2024-02-02T12:49:05.536" v="100" actId="478"/>
          <ac:spMkLst>
            <pc:docMk/>
            <pc:sldMk cId="575587304" sldId="2147470369"/>
            <ac:spMk id="46" creationId="{653C81E6-959C-CEE2-C463-56AA739DA89B}"/>
          </ac:spMkLst>
        </pc:spChg>
        <pc:spChg chg="add mod ord">
          <ac:chgData name="Thankappan, Dilip" userId="e5546a62-cc74-4170-8055-d680bb142a65" providerId="ADAL" clId="{8E27C245-03AF-4095-BA28-C6778FA4259C}" dt="2024-02-02T12:50:23.738" v="108" actId="14100"/>
          <ac:spMkLst>
            <pc:docMk/>
            <pc:sldMk cId="575587304" sldId="2147470369"/>
            <ac:spMk id="49" creationId="{6CA0D64A-305F-AA42-9492-754C204FB0F4}"/>
          </ac:spMkLst>
        </pc:spChg>
        <pc:picChg chg="del">
          <ac:chgData name="Thankappan, Dilip" userId="e5546a62-cc74-4170-8055-d680bb142a65" providerId="ADAL" clId="{8E27C245-03AF-4095-BA28-C6778FA4259C}" dt="2024-02-02T12:36:58.539" v="4" actId="478"/>
          <ac:picMkLst>
            <pc:docMk/>
            <pc:sldMk cId="575587304" sldId="2147470369"/>
            <ac:picMk id="19" creationId="{C8BCE6F5-BAB0-2944-D2EF-B545B57C9826}"/>
          </ac:picMkLst>
        </pc:picChg>
        <pc:picChg chg="del">
          <ac:chgData name="Thankappan, Dilip" userId="e5546a62-cc74-4170-8055-d680bb142a65" providerId="ADAL" clId="{8E27C245-03AF-4095-BA28-C6778FA4259C}" dt="2024-02-02T12:36:58.539" v="4" actId="478"/>
          <ac:picMkLst>
            <pc:docMk/>
            <pc:sldMk cId="575587304" sldId="2147470369"/>
            <ac:picMk id="20" creationId="{C106C8BE-34EE-7A96-035C-D402E19B55E5}"/>
          </ac:picMkLst>
        </pc:picChg>
        <pc:picChg chg="add mod">
          <ac:chgData name="Thankappan, Dilip" userId="e5546a62-cc74-4170-8055-d680bb142a65" providerId="ADAL" clId="{8E27C245-03AF-4095-BA28-C6778FA4259C}" dt="2024-02-02T12:50:35.040" v="110" actId="1076"/>
          <ac:picMkLst>
            <pc:docMk/>
            <pc:sldMk cId="575587304" sldId="2147470369"/>
            <ac:picMk id="48" creationId="{40AD941F-D70E-E8B3-F3CE-E5C81D265B17}"/>
          </ac:picMkLst>
        </pc:pic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12" creationId="{35E8F25D-1848-2DDD-6B6D-6AFAF4D29B99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13" creationId="{7A705432-503B-A7E5-A956-0D6B94796E1B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14" creationId="{A50466F3-E170-8508-AD13-6E12AE7AC321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15" creationId="{86830CAE-0C0B-E778-2FAF-A8F62236FCCB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16" creationId="{8E8C351D-CCD8-8A87-2F8F-1C6546FEE340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17" creationId="{DBF3F5C0-11A7-E26C-450A-CC113B205563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22" creationId="{939DFA4A-6F8B-D666-382C-F509A5014C26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26" creationId="{B4292FAE-191D-EAB7-6F55-B4FD1B6D4B54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27" creationId="{F1238739-525B-D851-621B-471E8DDF0402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28" creationId="{C3786E0D-5A63-4158-03FF-56645A900F51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30" creationId="{D0DB0412-2265-D4AF-B898-938076C2EA7A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32" creationId="{A30D68F1-6389-9576-3445-121D90C8450D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37" creationId="{640B4E82-E3A2-9AB9-F19A-8CAD087DFCEE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39" creationId="{4BC8F4C8-2116-A417-17F1-933EB2ABCDCF}"/>
          </ac:cxnSpMkLst>
        </pc:cxnChg>
        <pc:cxnChg chg="del">
          <ac:chgData name="Thankappan, Dilip" userId="e5546a62-cc74-4170-8055-d680bb142a65" providerId="ADAL" clId="{8E27C245-03AF-4095-BA28-C6778FA4259C}" dt="2024-02-02T12:36:58.539" v="4" actId="478"/>
          <ac:cxnSpMkLst>
            <pc:docMk/>
            <pc:sldMk cId="575587304" sldId="2147470369"/>
            <ac:cxnSpMk id="43" creationId="{D80A4906-9E05-4E2A-92CC-3EC3AD91A660}"/>
          </ac:cxnSpMkLst>
        </pc:cxnChg>
      </pc:sldChg>
      <pc:sldChg chg="del">
        <pc:chgData name="Thankappan, Dilip" userId="e5546a62-cc74-4170-8055-d680bb142a65" providerId="ADAL" clId="{8E27C245-03AF-4095-BA28-C6778FA4259C}" dt="2024-02-02T13:23:16.133" v="424" actId="47"/>
        <pc:sldMkLst>
          <pc:docMk/>
          <pc:sldMk cId="2836068421" sldId="2147470370"/>
        </pc:sldMkLst>
      </pc:sldChg>
      <pc:sldChg chg="del">
        <pc:chgData name="Thankappan, Dilip" userId="e5546a62-cc74-4170-8055-d680bb142a65" providerId="ADAL" clId="{8E27C245-03AF-4095-BA28-C6778FA4259C}" dt="2024-02-02T13:23:15.099" v="423" actId="47"/>
        <pc:sldMkLst>
          <pc:docMk/>
          <pc:sldMk cId="459855009" sldId="2147470371"/>
        </pc:sldMkLst>
      </pc:sldChg>
    </pc:docChg>
  </pc:docChgLst>
  <pc:docChgLst>
    <pc:chgData name="Thankappan, Dilip" userId="e5546a62-cc74-4170-8055-d680bb142a65" providerId="ADAL" clId="{1C7B98B7-C6E6-4DF6-B28F-741843295632}"/>
    <pc:docChg chg="undo redo custSel addSld delSld modSld">
      <pc:chgData name="Thankappan, Dilip" userId="e5546a62-cc74-4170-8055-d680bb142a65" providerId="ADAL" clId="{1C7B98B7-C6E6-4DF6-B28F-741843295632}" dt="2024-02-29T08:09:17.838" v="4952" actId="14100"/>
      <pc:docMkLst>
        <pc:docMk/>
      </pc:docMkLst>
      <pc:sldChg chg="addSp delSp modSp add mod">
        <pc:chgData name="Thankappan, Dilip" userId="e5546a62-cc74-4170-8055-d680bb142a65" providerId="ADAL" clId="{1C7B98B7-C6E6-4DF6-B28F-741843295632}" dt="2024-02-29T07:57:41.023" v="4706"/>
        <pc:sldMkLst>
          <pc:docMk/>
          <pc:sldMk cId="14229059" sldId="2145706656"/>
        </pc:sldMkLst>
        <pc:spChg chg="mod">
          <ac:chgData name="Thankappan, Dilip" userId="e5546a62-cc74-4170-8055-d680bb142a65" providerId="ADAL" clId="{1C7B98B7-C6E6-4DF6-B28F-741843295632}" dt="2024-02-29T07:32:30.984" v="3966" actId="20577"/>
          <ac:spMkLst>
            <pc:docMk/>
            <pc:sldMk cId="14229059" sldId="2145706656"/>
            <ac:spMk id="8" creationId="{FF2C294B-B88E-E37A-2319-586CBFBCAC25}"/>
          </ac:spMkLst>
        </pc:spChg>
        <pc:spChg chg="mod">
          <ac:chgData name="Thankappan, Dilip" userId="e5546a62-cc74-4170-8055-d680bb142a65" providerId="ADAL" clId="{1C7B98B7-C6E6-4DF6-B28F-741843295632}" dt="2024-02-28T12:51:37.058" v="62"/>
          <ac:spMkLst>
            <pc:docMk/>
            <pc:sldMk cId="14229059" sldId="2145706656"/>
            <ac:spMk id="11" creationId="{5A0A4D11-4FBA-1F4A-F2F5-FA73472CD889}"/>
          </ac:spMkLst>
        </pc:spChg>
        <pc:spChg chg="mod">
          <ac:chgData name="Thankappan, Dilip" userId="e5546a62-cc74-4170-8055-d680bb142a65" providerId="ADAL" clId="{1C7B98B7-C6E6-4DF6-B28F-741843295632}" dt="2024-02-28T13:09:47.508" v="95" actId="20577"/>
          <ac:spMkLst>
            <pc:docMk/>
            <pc:sldMk cId="14229059" sldId="2145706656"/>
            <ac:spMk id="14" creationId="{05738971-E49C-19F3-7EB9-141262FEC23C}"/>
          </ac:spMkLst>
        </pc:spChg>
        <pc:spChg chg="mod">
          <ac:chgData name="Thankappan, Dilip" userId="e5546a62-cc74-4170-8055-d680bb142a65" providerId="ADAL" clId="{1C7B98B7-C6E6-4DF6-B28F-741843295632}" dt="2024-02-28T13:10:24.315" v="99" actId="20577"/>
          <ac:spMkLst>
            <pc:docMk/>
            <pc:sldMk cId="14229059" sldId="2145706656"/>
            <ac:spMk id="17" creationId="{3050D15E-FE02-1736-561F-68552B62FBA3}"/>
          </ac:spMkLst>
        </pc:spChg>
        <pc:spChg chg="mod">
          <ac:chgData name="Thankappan, Dilip" userId="e5546a62-cc74-4170-8055-d680bb142a65" providerId="ADAL" clId="{1C7B98B7-C6E6-4DF6-B28F-741843295632}" dt="2024-02-29T07:57:41.023" v="4706"/>
          <ac:spMkLst>
            <pc:docMk/>
            <pc:sldMk cId="14229059" sldId="2145706656"/>
            <ac:spMk id="20" creationId="{98502AE9-2A39-0291-3BA7-760FF69932AA}"/>
          </ac:spMkLst>
        </pc:spChg>
        <pc:spChg chg="add del mod">
          <ac:chgData name="Thankappan, Dilip" userId="e5546a62-cc74-4170-8055-d680bb142a65" providerId="ADAL" clId="{1C7B98B7-C6E6-4DF6-B28F-741843295632}" dt="2024-02-29T07:56:57.184" v="4703" actId="478"/>
          <ac:spMkLst>
            <pc:docMk/>
            <pc:sldMk cId="14229059" sldId="2145706656"/>
            <ac:spMk id="30" creationId="{B9294D0F-613C-E09F-B2CF-267655BA4961}"/>
          </ac:spMkLst>
        </pc:spChg>
        <pc:spChg chg="add del mod">
          <ac:chgData name="Thankappan, Dilip" userId="e5546a62-cc74-4170-8055-d680bb142a65" providerId="ADAL" clId="{1C7B98B7-C6E6-4DF6-B28F-741843295632}" dt="2024-02-29T07:56:57.184" v="4703" actId="478"/>
          <ac:spMkLst>
            <pc:docMk/>
            <pc:sldMk cId="14229059" sldId="2145706656"/>
            <ac:spMk id="31" creationId="{10C182A4-6BF5-F2C9-713A-3799FE785E7F}"/>
          </ac:spMkLst>
        </pc:spChg>
        <pc:spChg chg="add del mod">
          <ac:chgData name="Thankappan, Dilip" userId="e5546a62-cc74-4170-8055-d680bb142a65" providerId="ADAL" clId="{1C7B98B7-C6E6-4DF6-B28F-741843295632}" dt="2024-02-29T07:56:57.184" v="4703" actId="478"/>
          <ac:spMkLst>
            <pc:docMk/>
            <pc:sldMk cId="14229059" sldId="2145706656"/>
            <ac:spMk id="32" creationId="{81696182-5EE8-9B82-6836-9213CC066BC3}"/>
          </ac:spMkLst>
        </pc:spChg>
      </pc:sldChg>
      <pc:sldChg chg="addSp modSp mod">
        <pc:chgData name="Thankappan, Dilip" userId="e5546a62-cc74-4170-8055-d680bb142a65" providerId="ADAL" clId="{1C7B98B7-C6E6-4DF6-B28F-741843295632}" dt="2024-02-29T07:56:33.742" v="4702" actId="33524"/>
        <pc:sldMkLst>
          <pc:docMk/>
          <pc:sldMk cId="3448401132" sldId="2145706709"/>
        </pc:sldMkLst>
        <pc:spChg chg="add mod">
          <ac:chgData name="Thankappan, Dilip" userId="e5546a62-cc74-4170-8055-d680bb142a65" providerId="ADAL" clId="{1C7B98B7-C6E6-4DF6-B28F-741843295632}" dt="2024-02-29T07:56:33.742" v="4702" actId="33524"/>
          <ac:spMkLst>
            <pc:docMk/>
            <pc:sldMk cId="3448401132" sldId="2145706709"/>
            <ac:spMk id="2" creationId="{CD9CD137-6808-08D5-790F-F3F7549F2051}"/>
          </ac:spMkLst>
        </pc:spChg>
      </pc:sldChg>
      <pc:sldChg chg="addSp delSp modSp mod modNotesTx">
        <pc:chgData name="Thankappan, Dilip" userId="e5546a62-cc74-4170-8055-d680bb142a65" providerId="ADAL" clId="{1C7B98B7-C6E6-4DF6-B28F-741843295632}" dt="2024-02-29T05:24:53.191" v="3060" actId="113"/>
        <pc:sldMkLst>
          <pc:docMk/>
          <pc:sldMk cId="575587304" sldId="2147470369"/>
        </pc:sldMkLst>
        <pc:spChg chg="mod">
          <ac:chgData name="Thankappan, Dilip" userId="e5546a62-cc74-4170-8055-d680bb142a65" providerId="ADAL" clId="{1C7B98B7-C6E6-4DF6-B28F-741843295632}" dt="2024-02-29T05:24:53.191" v="3060" actId="113"/>
          <ac:spMkLst>
            <pc:docMk/>
            <pc:sldMk cId="575587304" sldId="2147470369"/>
            <ac:spMk id="2" creationId="{8C419BE4-CF3A-F5B7-3FBB-CD283329E2FB}"/>
          </ac:spMkLst>
        </pc:spChg>
        <pc:spChg chg="del mod">
          <ac:chgData name="Thankappan, Dilip" userId="e5546a62-cc74-4170-8055-d680bb142a65" providerId="ADAL" clId="{1C7B98B7-C6E6-4DF6-B28F-741843295632}" dt="2024-02-29T03:05:02.702" v="1560" actId="478"/>
          <ac:spMkLst>
            <pc:docMk/>
            <pc:sldMk cId="575587304" sldId="2147470369"/>
            <ac:spMk id="5" creationId="{3F0C3D73-E4F1-3DE6-E76A-7925E54067A9}"/>
          </ac:spMkLst>
        </pc:spChg>
        <pc:spChg chg="add mod">
          <ac:chgData name="Thankappan, Dilip" userId="e5546a62-cc74-4170-8055-d680bb142a65" providerId="ADAL" clId="{1C7B98B7-C6E6-4DF6-B28F-741843295632}" dt="2024-02-29T05:24:11.014" v="3058" actId="20577"/>
          <ac:spMkLst>
            <pc:docMk/>
            <pc:sldMk cId="575587304" sldId="2147470369"/>
            <ac:spMk id="10" creationId="{B9E913C7-206B-9B01-FAE6-F1C155DB51FB}"/>
          </ac:spMkLst>
        </pc:spChg>
        <pc:graphicFrameChg chg="add mod modGraphic">
          <ac:chgData name="Thankappan, Dilip" userId="e5546a62-cc74-4170-8055-d680bb142a65" providerId="ADAL" clId="{1C7B98B7-C6E6-4DF6-B28F-741843295632}" dt="2024-02-29T03:05:09.637" v="1561" actId="1076"/>
          <ac:graphicFrameMkLst>
            <pc:docMk/>
            <pc:sldMk cId="575587304" sldId="2147470369"/>
            <ac:graphicFrameMk id="9" creationId="{56B3F962-0E43-4AFE-C304-D3D27B3BD0B4}"/>
          </ac:graphicFrameMkLst>
        </pc:graphicFrameChg>
        <pc:graphicFrameChg chg="add mod modGraphic">
          <ac:chgData name="Thankappan, Dilip" userId="e5546a62-cc74-4170-8055-d680bb142a65" providerId="ADAL" clId="{1C7B98B7-C6E6-4DF6-B28F-741843295632}" dt="2024-02-29T03:09:54.621" v="1755" actId="20577"/>
          <ac:graphicFrameMkLst>
            <pc:docMk/>
            <pc:sldMk cId="575587304" sldId="2147470369"/>
            <ac:graphicFrameMk id="11" creationId="{1271477B-2E5D-79D4-8D7F-9C8DC65F609E}"/>
          </ac:graphicFrameMkLst>
        </pc:graphicFrameChg>
        <pc:picChg chg="del">
          <ac:chgData name="Thankappan, Dilip" userId="e5546a62-cc74-4170-8055-d680bb142a65" providerId="ADAL" clId="{1C7B98B7-C6E6-4DF6-B28F-741843295632}" dt="2024-02-28T19:02:45.885" v="212" actId="478"/>
          <ac:picMkLst>
            <pc:docMk/>
            <pc:sldMk cId="575587304" sldId="2147470369"/>
            <ac:picMk id="4" creationId="{4A639322-256D-268E-55E7-929968C1A9BF}"/>
          </ac:picMkLst>
        </pc:picChg>
        <pc:picChg chg="add mod">
          <ac:chgData name="Thankappan, Dilip" userId="e5546a62-cc74-4170-8055-d680bb142a65" providerId="ADAL" clId="{1C7B98B7-C6E6-4DF6-B28F-741843295632}" dt="2024-02-29T02:36:51.212" v="893" actId="14100"/>
          <ac:picMkLst>
            <pc:docMk/>
            <pc:sldMk cId="575587304" sldId="2147470369"/>
            <ac:picMk id="6" creationId="{CEC8410E-8EF7-74AC-26C6-977A71500686}"/>
          </ac:picMkLst>
        </pc:picChg>
        <pc:picChg chg="add del mod">
          <ac:chgData name="Thankappan, Dilip" userId="e5546a62-cc74-4170-8055-d680bb142a65" providerId="ADAL" clId="{1C7B98B7-C6E6-4DF6-B28F-741843295632}" dt="2024-02-28T19:05:44.034" v="226" actId="21"/>
          <ac:picMkLst>
            <pc:docMk/>
            <pc:sldMk cId="575587304" sldId="2147470369"/>
            <ac:picMk id="8" creationId="{C494014E-5212-5EF5-F361-28E3F4D596BC}"/>
          </ac:picMkLst>
        </pc:picChg>
      </pc:sldChg>
      <pc:sldChg chg="addSp delSp modSp mod">
        <pc:chgData name="Thankappan, Dilip" userId="e5546a62-cc74-4170-8055-d680bb142a65" providerId="ADAL" clId="{1C7B98B7-C6E6-4DF6-B28F-741843295632}" dt="2024-02-29T05:24:46.186" v="3059" actId="113"/>
        <pc:sldMkLst>
          <pc:docMk/>
          <pc:sldMk cId="3699829496" sldId="2147470370"/>
        </pc:sldMkLst>
        <pc:spChg chg="mod">
          <ac:chgData name="Thankappan, Dilip" userId="e5546a62-cc74-4170-8055-d680bb142a65" providerId="ADAL" clId="{1C7B98B7-C6E6-4DF6-B28F-741843295632}" dt="2024-02-29T05:24:46.186" v="3059" actId="113"/>
          <ac:spMkLst>
            <pc:docMk/>
            <pc:sldMk cId="3699829496" sldId="2147470370"/>
            <ac:spMk id="2" creationId="{8C419BE4-CF3A-F5B7-3FBB-CD283329E2FB}"/>
          </ac:spMkLst>
        </pc:spChg>
        <pc:spChg chg="add mod">
          <ac:chgData name="Thankappan, Dilip" userId="e5546a62-cc74-4170-8055-d680bb142a65" providerId="ADAL" clId="{1C7B98B7-C6E6-4DF6-B28F-741843295632}" dt="2024-02-29T03:12:46.705" v="1762" actId="1076"/>
          <ac:spMkLst>
            <pc:docMk/>
            <pc:sldMk cId="3699829496" sldId="2147470370"/>
            <ac:spMk id="8" creationId="{447901A2-9ADD-1C9A-4781-D58AB83C9BC1}"/>
          </ac:spMkLst>
        </pc:spChg>
        <pc:spChg chg="del">
          <ac:chgData name="Thankappan, Dilip" userId="e5546a62-cc74-4170-8055-d680bb142a65" providerId="ADAL" clId="{1C7B98B7-C6E6-4DF6-B28F-741843295632}" dt="2024-02-29T03:12:12.166" v="1756" actId="478"/>
          <ac:spMkLst>
            <pc:docMk/>
            <pc:sldMk cId="3699829496" sldId="2147470370"/>
            <ac:spMk id="11" creationId="{A74ACBCB-530D-D6BC-CABF-4DE9F09D024C}"/>
          </ac:spMkLst>
        </pc:spChg>
        <pc:spChg chg="del">
          <ac:chgData name="Thankappan, Dilip" userId="e5546a62-cc74-4170-8055-d680bb142a65" providerId="ADAL" clId="{1C7B98B7-C6E6-4DF6-B28F-741843295632}" dt="2024-02-28T12:21:50.589" v="0" actId="478"/>
          <ac:spMkLst>
            <pc:docMk/>
            <pc:sldMk cId="3699829496" sldId="2147470370"/>
            <ac:spMk id="12" creationId="{BB785512-8F16-D367-97E0-BC9E26F5CC02}"/>
          </ac:spMkLst>
        </pc:spChg>
        <pc:grpChg chg="add del mod">
          <ac:chgData name="Thankappan, Dilip" userId="e5546a62-cc74-4170-8055-d680bb142a65" providerId="ADAL" clId="{1C7B98B7-C6E6-4DF6-B28F-741843295632}" dt="2024-02-28T19:11:06.943" v="250" actId="478"/>
          <ac:grpSpMkLst>
            <pc:docMk/>
            <pc:sldMk cId="3699829496" sldId="2147470370"/>
            <ac:grpSpMk id="4" creationId="{FA6B1C3E-D9DB-2C22-749D-6D3BD62C0614}"/>
          </ac:grpSpMkLst>
        </pc:grpChg>
        <pc:graphicFrameChg chg="add mod modGraphic">
          <ac:chgData name="Thankappan, Dilip" userId="e5546a62-cc74-4170-8055-d680bb142a65" providerId="ADAL" clId="{1C7B98B7-C6E6-4DF6-B28F-741843295632}" dt="2024-02-29T03:33:25.060" v="2077" actId="20577"/>
          <ac:graphicFrameMkLst>
            <pc:docMk/>
            <pc:sldMk cId="3699829496" sldId="2147470370"/>
            <ac:graphicFrameMk id="7" creationId="{5AD6FD2B-7134-D2F2-6B66-B4D8DC207143}"/>
          </ac:graphicFrameMkLst>
        </pc:graphicFrameChg>
        <pc:graphicFrameChg chg="add mod modGraphic">
          <ac:chgData name="Thankappan, Dilip" userId="e5546a62-cc74-4170-8055-d680bb142a65" providerId="ADAL" clId="{1C7B98B7-C6E6-4DF6-B28F-741843295632}" dt="2024-02-29T03:34:26.570" v="2097" actId="20577"/>
          <ac:graphicFrameMkLst>
            <pc:docMk/>
            <pc:sldMk cId="3699829496" sldId="2147470370"/>
            <ac:graphicFrameMk id="9" creationId="{14CEF055-C966-15BB-B390-311F73E153F3}"/>
          </ac:graphicFrameMkLst>
        </pc:graphicFrameChg>
        <pc:picChg chg="add mod">
          <ac:chgData name="Thankappan, Dilip" userId="e5546a62-cc74-4170-8055-d680bb142a65" providerId="ADAL" clId="{1C7B98B7-C6E6-4DF6-B28F-741843295632}" dt="2024-02-28T19:08:00.373" v="236" actId="164"/>
          <ac:picMkLst>
            <pc:docMk/>
            <pc:sldMk cId="3699829496" sldId="2147470370"/>
            <ac:picMk id="3" creationId="{F21E27A4-DB15-13A9-D259-8DB48958FA7C}"/>
          </ac:picMkLst>
        </pc:picChg>
        <pc:picChg chg="add del mod">
          <ac:chgData name="Thankappan, Dilip" userId="e5546a62-cc74-4170-8055-d680bb142a65" providerId="ADAL" clId="{1C7B98B7-C6E6-4DF6-B28F-741843295632}" dt="2024-02-28T19:10:58.032" v="249" actId="21"/>
          <ac:picMkLst>
            <pc:docMk/>
            <pc:sldMk cId="3699829496" sldId="2147470370"/>
            <ac:picMk id="5" creationId="{F2E7E6FC-1A7C-EC89-235D-75ED36D4508D}"/>
          </ac:picMkLst>
        </pc:picChg>
        <pc:picChg chg="add del mod">
          <ac:chgData name="Thankappan, Dilip" userId="e5546a62-cc74-4170-8055-d680bb142a65" providerId="ADAL" clId="{1C7B98B7-C6E6-4DF6-B28F-741843295632}" dt="2024-02-29T00:10:16.638" v="253" actId="478"/>
          <ac:picMkLst>
            <pc:docMk/>
            <pc:sldMk cId="3699829496" sldId="2147470370"/>
            <ac:picMk id="6" creationId="{317D26BC-2AFA-92D1-6D60-83C8BA09E0E1}"/>
          </ac:picMkLst>
        </pc:picChg>
        <pc:picChg chg="del">
          <ac:chgData name="Thankappan, Dilip" userId="e5546a62-cc74-4170-8055-d680bb142a65" providerId="ADAL" clId="{1C7B98B7-C6E6-4DF6-B28F-741843295632}" dt="2024-02-28T19:03:55.672" v="218" actId="478"/>
          <ac:picMkLst>
            <pc:docMk/>
            <pc:sldMk cId="3699829496" sldId="2147470370"/>
            <ac:picMk id="10" creationId="{8FEDE9DF-B7A4-E365-EDBE-0230F0F33E1D}"/>
          </ac:picMkLst>
        </pc:picChg>
        <pc:picChg chg="add del">
          <ac:chgData name="Thankappan, Dilip" userId="e5546a62-cc74-4170-8055-d680bb142a65" providerId="ADAL" clId="{1C7B98B7-C6E6-4DF6-B28F-741843295632}" dt="2024-02-28T19:06:56.316" v="229"/>
          <ac:picMkLst>
            <pc:docMk/>
            <pc:sldMk cId="3699829496" sldId="2147470370"/>
            <ac:picMk id="1025" creationId="{6F4C1917-A90F-1AAC-AD62-CCFE89A0D124}"/>
          </ac:picMkLst>
        </pc:picChg>
        <pc:picChg chg="add del mod">
          <ac:chgData name="Thankappan, Dilip" userId="e5546a62-cc74-4170-8055-d680bb142a65" providerId="ADAL" clId="{1C7B98B7-C6E6-4DF6-B28F-741843295632}" dt="2024-02-28T19:07:21.855" v="232" actId="478"/>
          <ac:picMkLst>
            <pc:docMk/>
            <pc:sldMk cId="3699829496" sldId="2147470370"/>
            <ac:picMk id="1026" creationId="{D7DAFE10-6966-ADCF-8C06-78B59B0672A8}"/>
          </ac:picMkLst>
        </pc:picChg>
        <pc:picChg chg="add mod">
          <ac:chgData name="Thankappan, Dilip" userId="e5546a62-cc74-4170-8055-d680bb142a65" providerId="ADAL" clId="{1C7B98B7-C6E6-4DF6-B28F-741843295632}" dt="2024-02-28T19:08:00.373" v="236" actId="164"/>
          <ac:picMkLst>
            <pc:docMk/>
            <pc:sldMk cId="3699829496" sldId="2147470370"/>
            <ac:picMk id="1027" creationId="{A578E3A2-6420-38BB-2F23-F698EA9F6D7E}"/>
          </ac:picMkLst>
        </pc:picChg>
        <pc:picChg chg="add del mod">
          <ac:chgData name="Thankappan, Dilip" userId="e5546a62-cc74-4170-8055-d680bb142a65" providerId="ADAL" clId="{1C7B98B7-C6E6-4DF6-B28F-741843295632}" dt="2024-02-29T03:22:50.285" v="1997" actId="478"/>
          <ac:picMkLst>
            <pc:docMk/>
            <pc:sldMk cId="3699829496" sldId="2147470370"/>
            <ac:picMk id="1028" creationId="{BA26F712-B40E-B9BC-A5A4-66677B60FF3A}"/>
          </ac:picMkLst>
        </pc:picChg>
        <pc:picChg chg="add mod">
          <ac:chgData name="Thankappan, Dilip" userId="e5546a62-cc74-4170-8055-d680bb142a65" providerId="ADAL" clId="{1C7B98B7-C6E6-4DF6-B28F-741843295632}" dt="2024-02-29T03:23:19.339" v="2003" actId="1076"/>
          <ac:picMkLst>
            <pc:docMk/>
            <pc:sldMk cId="3699829496" sldId="2147470370"/>
            <ac:picMk id="1029" creationId="{61D27DBD-40D1-9EDB-4C9B-00D8FD2B96AA}"/>
          </ac:picMkLst>
        </pc:picChg>
      </pc:sldChg>
      <pc:sldChg chg="addSp delSp modSp new mod modClrScheme chgLayout">
        <pc:chgData name="Thankappan, Dilip" userId="e5546a62-cc74-4170-8055-d680bb142a65" providerId="ADAL" clId="{1C7B98B7-C6E6-4DF6-B28F-741843295632}" dt="2024-02-29T07:52:43.975" v="4617" actId="1076"/>
        <pc:sldMkLst>
          <pc:docMk/>
          <pc:sldMk cId="2815039264" sldId="2147470371"/>
        </pc:sldMkLst>
        <pc:spChg chg="add mod">
          <ac:chgData name="Thankappan, Dilip" userId="e5546a62-cc74-4170-8055-d680bb142a65" providerId="ADAL" clId="{1C7B98B7-C6E6-4DF6-B28F-741843295632}" dt="2024-02-29T07:45:11.381" v="4519" actId="20577"/>
          <ac:spMkLst>
            <pc:docMk/>
            <pc:sldMk cId="2815039264" sldId="2147470371"/>
            <ac:spMk id="2" creationId="{B4461FF1-D1AD-7436-E498-4AA34DF0CC0D}"/>
          </ac:spMkLst>
        </pc:spChg>
        <pc:spChg chg="add del mod">
          <ac:chgData name="Thankappan, Dilip" userId="e5546a62-cc74-4170-8055-d680bb142a65" providerId="ADAL" clId="{1C7B98B7-C6E6-4DF6-B28F-741843295632}" dt="2024-02-28T14:01:06.353" v="145" actId="478"/>
          <ac:spMkLst>
            <pc:docMk/>
            <pc:sldMk cId="2815039264" sldId="2147470371"/>
            <ac:spMk id="3" creationId="{49E4DB02-5473-DA7D-622A-C40D102C12BC}"/>
          </ac:spMkLst>
        </pc:spChg>
        <pc:picChg chg="add del">
          <ac:chgData name="Thankappan, Dilip" userId="e5546a62-cc74-4170-8055-d680bb142a65" providerId="ADAL" clId="{1C7B98B7-C6E6-4DF6-B28F-741843295632}" dt="2024-02-29T07:44:51.827" v="4503" actId="478"/>
          <ac:picMkLst>
            <pc:docMk/>
            <pc:sldMk cId="2815039264" sldId="2147470371"/>
            <ac:picMk id="5" creationId="{E09A74B2-924B-1F25-CAFC-9AA376AF5847}"/>
          </ac:picMkLst>
        </pc:picChg>
        <pc:picChg chg="add del mod">
          <ac:chgData name="Thankappan, Dilip" userId="e5546a62-cc74-4170-8055-d680bb142a65" providerId="ADAL" clId="{1C7B98B7-C6E6-4DF6-B28F-741843295632}" dt="2024-02-28T14:01:21.507" v="148" actId="478"/>
          <ac:picMkLst>
            <pc:docMk/>
            <pc:sldMk cId="2815039264" sldId="2147470371"/>
            <ac:picMk id="6" creationId="{47C785AC-DD04-48F5-718B-75D7E85B86FA}"/>
          </ac:picMkLst>
        </pc:picChg>
        <pc:picChg chg="add mod">
          <ac:chgData name="Thankappan, Dilip" userId="e5546a62-cc74-4170-8055-d680bb142a65" providerId="ADAL" clId="{1C7B98B7-C6E6-4DF6-B28F-741843295632}" dt="2024-02-29T07:52:43.975" v="4617" actId="1076"/>
          <ac:picMkLst>
            <pc:docMk/>
            <pc:sldMk cId="2815039264" sldId="2147470371"/>
            <ac:picMk id="1026" creationId="{44AEDEB1-667D-9E70-D3A0-D78F05E6D180}"/>
          </ac:picMkLst>
        </pc:picChg>
      </pc:sldChg>
      <pc:sldChg chg="addSp delSp modSp new del mod modClrScheme chgLayout">
        <pc:chgData name="Thankappan, Dilip" userId="e5546a62-cc74-4170-8055-d680bb142a65" providerId="ADAL" clId="{1C7B98B7-C6E6-4DF6-B28F-741843295632}" dt="2024-02-28T12:22:52.518" v="3" actId="47"/>
        <pc:sldMkLst>
          <pc:docMk/>
          <pc:sldMk cId="3238697552" sldId="2147470371"/>
        </pc:sldMkLst>
        <pc:spChg chg="del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2" creationId="{A75C36EC-75B5-8E33-593B-1F712AA0636F}"/>
          </ac:spMkLst>
        </pc:spChg>
        <pc:spChg chg="del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3" creationId="{3FE709BE-98F2-B197-1813-EA0224F13C0E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4" creationId="{9FD8FA03-9758-0389-0C00-7BBFAD8800D8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5" creationId="{F5855049-EF9A-3749-71FA-8117FFC1880E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6" creationId="{3C4ED04A-4C5C-F9E9-E523-F2BED0FBF5C6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7" creationId="{9A6D2C2D-3C54-2405-A0AE-6E3999D38572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8" creationId="{65AEC00C-F023-B01E-1E52-9229090EA7F2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9" creationId="{516970F8-98F9-A3E7-8FED-4EF5A228D878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10" creationId="{6CB51C41-AEC0-B657-12C7-D20DC07DFBB2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11" creationId="{948642F1-F6DF-4B1A-540F-00B46DA7F627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12" creationId="{1BF45DEF-1322-BFFC-E179-C6CFC8CD7AB6}"/>
          </ac:spMkLst>
        </pc:spChg>
        <pc:spChg chg="add mod ord">
          <ac:chgData name="Thankappan, Dilip" userId="e5546a62-cc74-4170-8055-d680bb142a65" providerId="ADAL" clId="{1C7B98B7-C6E6-4DF6-B28F-741843295632}" dt="2024-02-28T12:22:48.077" v="2" actId="700"/>
          <ac:spMkLst>
            <pc:docMk/>
            <pc:sldMk cId="3238697552" sldId="2147470371"/>
            <ac:spMk id="13" creationId="{C8C5AE88-C06D-FDDA-C9FB-794C557570D0}"/>
          </ac:spMkLst>
        </pc:spChg>
      </pc:sldChg>
      <pc:sldChg chg="addSp delSp modSp new mod modClrScheme chgLayout">
        <pc:chgData name="Thankappan, Dilip" userId="e5546a62-cc74-4170-8055-d680bb142a65" providerId="ADAL" clId="{1C7B98B7-C6E6-4DF6-B28F-741843295632}" dt="2024-02-29T07:53:19.784" v="4622" actId="1076"/>
        <pc:sldMkLst>
          <pc:docMk/>
          <pc:sldMk cId="3243886863" sldId="2147470372"/>
        </pc:sldMkLst>
        <pc:spChg chg="add mod">
          <ac:chgData name="Thankappan, Dilip" userId="e5546a62-cc74-4170-8055-d680bb142a65" providerId="ADAL" clId="{1C7B98B7-C6E6-4DF6-B28F-741843295632}" dt="2024-02-29T07:53:01.103" v="4618"/>
          <ac:spMkLst>
            <pc:docMk/>
            <pc:sldMk cId="3243886863" sldId="2147470372"/>
            <ac:spMk id="2" creationId="{DCC80D15-DAFE-57E8-99B1-090EDC6AA311}"/>
          </ac:spMkLst>
        </pc:spChg>
        <pc:spChg chg="add del mod">
          <ac:chgData name="Thankappan, Dilip" userId="e5546a62-cc74-4170-8055-d680bb142a65" providerId="ADAL" clId="{1C7B98B7-C6E6-4DF6-B28F-741843295632}" dt="2024-02-29T07:53:05.278" v="4619" actId="478"/>
          <ac:spMkLst>
            <pc:docMk/>
            <pc:sldMk cId="3243886863" sldId="2147470372"/>
            <ac:spMk id="3" creationId="{C9376E7F-D4A3-2B43-00F1-A12955D18974}"/>
          </ac:spMkLst>
        </pc:spChg>
        <pc:picChg chg="add mod">
          <ac:chgData name="Thankappan, Dilip" userId="e5546a62-cc74-4170-8055-d680bb142a65" providerId="ADAL" clId="{1C7B98B7-C6E6-4DF6-B28F-741843295632}" dt="2024-02-29T07:53:19.784" v="4622" actId="1076"/>
          <ac:picMkLst>
            <pc:docMk/>
            <pc:sldMk cId="3243886863" sldId="2147470372"/>
            <ac:picMk id="2050" creationId="{087B60D1-1CF6-26CE-D67C-F90B2E760327}"/>
          </ac:picMkLst>
        </pc:picChg>
      </pc:sldChg>
      <pc:sldChg chg="addSp modSp new mod">
        <pc:chgData name="Thankappan, Dilip" userId="e5546a62-cc74-4170-8055-d680bb142a65" providerId="ADAL" clId="{1C7B98B7-C6E6-4DF6-B28F-741843295632}" dt="2024-02-29T04:50:08.190" v="2518" actId="113"/>
        <pc:sldMkLst>
          <pc:docMk/>
          <pc:sldMk cId="832508638" sldId="2147470373"/>
        </pc:sldMkLst>
        <pc:spChg chg="mod">
          <ac:chgData name="Thankappan, Dilip" userId="e5546a62-cc74-4170-8055-d680bb142a65" providerId="ADAL" clId="{1C7B98B7-C6E6-4DF6-B28F-741843295632}" dt="2024-02-29T00:25:39.937" v="269" actId="5793"/>
          <ac:spMkLst>
            <pc:docMk/>
            <pc:sldMk cId="832508638" sldId="2147470373"/>
            <ac:spMk id="2" creationId="{4536A740-15A7-CD03-9B67-700358F66BF4}"/>
          </ac:spMkLst>
        </pc:spChg>
        <pc:spChg chg="add mod">
          <ac:chgData name="Thankappan, Dilip" userId="e5546a62-cc74-4170-8055-d680bb142a65" providerId="ADAL" clId="{1C7B98B7-C6E6-4DF6-B28F-741843295632}" dt="2024-02-29T04:34:14.826" v="2193" actId="20577"/>
          <ac:spMkLst>
            <pc:docMk/>
            <pc:sldMk cId="832508638" sldId="2147470373"/>
            <ac:spMk id="3" creationId="{91ED7D57-CAC6-FA79-8DFD-90CCF000D087}"/>
          </ac:spMkLst>
        </pc:spChg>
        <pc:graphicFrameChg chg="add mod modGraphic">
          <ac:chgData name="Thankappan, Dilip" userId="e5546a62-cc74-4170-8055-d680bb142a65" providerId="ADAL" clId="{1C7B98B7-C6E6-4DF6-B28F-741843295632}" dt="2024-02-29T04:50:08.190" v="2518" actId="113"/>
          <ac:graphicFrameMkLst>
            <pc:docMk/>
            <pc:sldMk cId="832508638" sldId="2147470373"/>
            <ac:graphicFrameMk id="4" creationId="{93151814-89C2-A321-4F7D-3760BD950D3A}"/>
          </ac:graphicFrameMkLst>
        </pc:graphicFrameChg>
      </pc:sldChg>
      <pc:sldChg chg="addSp delSp modSp add del">
        <pc:chgData name="Thankappan, Dilip" userId="e5546a62-cc74-4170-8055-d680bb142a65" providerId="ADAL" clId="{1C7B98B7-C6E6-4DF6-B28F-741843295632}" dt="2024-02-28T19:11:53.354" v="252" actId="47"/>
        <pc:sldMkLst>
          <pc:docMk/>
          <pc:sldMk cId="4139197654" sldId="2147470373"/>
        </pc:sldMkLst>
        <pc:grpChg chg="del">
          <ac:chgData name="Thankappan, Dilip" userId="e5546a62-cc74-4170-8055-d680bb142a65" providerId="ADAL" clId="{1C7B98B7-C6E6-4DF6-B28F-741843295632}" dt="2024-02-28T19:09:38.127" v="238" actId="478"/>
          <ac:grpSpMkLst>
            <pc:docMk/>
            <pc:sldMk cId="4139197654" sldId="2147470373"/>
            <ac:grpSpMk id="4" creationId="{FA6B1C3E-D9DB-2C22-749D-6D3BD62C0614}"/>
          </ac:grpSpMkLst>
        </pc:grpChg>
        <pc:picChg chg="del">
          <ac:chgData name="Thankappan, Dilip" userId="e5546a62-cc74-4170-8055-d680bb142a65" providerId="ADAL" clId="{1C7B98B7-C6E6-4DF6-B28F-741843295632}" dt="2024-02-28T19:09:41.876" v="239" actId="478"/>
          <ac:picMkLst>
            <pc:docMk/>
            <pc:sldMk cId="4139197654" sldId="2147470373"/>
            <ac:picMk id="2050" creationId="{B448C71D-E4F5-86F1-4D96-DCA7BC141847}"/>
          </ac:picMkLst>
        </pc:picChg>
        <pc:picChg chg="add mod">
          <ac:chgData name="Thankappan, Dilip" userId="e5546a62-cc74-4170-8055-d680bb142a65" providerId="ADAL" clId="{1C7B98B7-C6E6-4DF6-B28F-741843295632}" dt="2024-02-28T19:10:15.423" v="244" actId="1076"/>
          <ac:picMkLst>
            <pc:docMk/>
            <pc:sldMk cId="4139197654" sldId="2147470373"/>
            <ac:picMk id="2051" creationId="{72BA50D7-D5FD-230E-B452-7EE977A10EFD}"/>
          </ac:picMkLst>
        </pc:picChg>
      </pc:sldChg>
      <pc:sldChg chg="addSp delSp modSp new mod">
        <pc:chgData name="Thankappan, Dilip" userId="e5546a62-cc74-4170-8055-d680bb142a65" providerId="ADAL" clId="{1C7B98B7-C6E6-4DF6-B28F-741843295632}" dt="2024-02-29T07:54:16.605" v="4628" actId="122"/>
        <pc:sldMkLst>
          <pc:docMk/>
          <pc:sldMk cId="884735104" sldId="2147470374"/>
        </pc:sldMkLst>
        <pc:spChg chg="mod">
          <ac:chgData name="Thankappan, Dilip" userId="e5546a62-cc74-4170-8055-d680bb142a65" providerId="ADAL" clId="{1C7B98B7-C6E6-4DF6-B28F-741843295632}" dt="2024-02-29T01:02:44.808" v="553" actId="20577"/>
          <ac:spMkLst>
            <pc:docMk/>
            <pc:sldMk cId="884735104" sldId="2147470374"/>
            <ac:spMk id="2" creationId="{09460290-504A-4A3C-3126-F38FDAB34C80}"/>
          </ac:spMkLst>
        </pc:spChg>
        <pc:spChg chg="add mod">
          <ac:chgData name="Thankappan, Dilip" userId="e5546a62-cc74-4170-8055-d680bb142a65" providerId="ADAL" clId="{1C7B98B7-C6E6-4DF6-B28F-741843295632}" dt="2024-02-29T00:39:25.477" v="290" actId="20577"/>
          <ac:spMkLst>
            <pc:docMk/>
            <pc:sldMk cId="884735104" sldId="2147470374"/>
            <ac:spMk id="3" creationId="{26F011D3-34EB-2571-8EED-04DEA84C3848}"/>
          </ac:spMkLst>
        </pc:spChg>
        <pc:spChg chg="add del mod">
          <ac:chgData name="Thankappan, Dilip" userId="e5546a62-cc74-4170-8055-d680bb142a65" providerId="ADAL" clId="{1C7B98B7-C6E6-4DF6-B28F-741843295632}" dt="2024-02-29T01:08:46.664" v="685" actId="478"/>
          <ac:spMkLst>
            <pc:docMk/>
            <pc:sldMk cId="884735104" sldId="2147470374"/>
            <ac:spMk id="4" creationId="{5B202DE6-18C8-9EF1-9879-1CF53574C1B9}"/>
          </ac:spMkLst>
        </pc:spChg>
        <pc:spChg chg="add mod">
          <ac:chgData name="Thankappan, Dilip" userId="e5546a62-cc74-4170-8055-d680bb142a65" providerId="ADAL" clId="{1C7B98B7-C6E6-4DF6-B28F-741843295632}" dt="2024-02-29T05:20:53.798" v="3047" actId="20577"/>
          <ac:spMkLst>
            <pc:docMk/>
            <pc:sldMk cId="884735104" sldId="2147470374"/>
            <ac:spMk id="4" creationId="{934C94D5-60F4-AAFC-3959-483B1D233247}"/>
          </ac:spMkLst>
        </pc:spChg>
        <pc:spChg chg="add del mod">
          <ac:chgData name="Thankappan, Dilip" userId="e5546a62-cc74-4170-8055-d680bb142a65" providerId="ADAL" clId="{1C7B98B7-C6E6-4DF6-B28F-741843295632}" dt="2024-02-29T01:02:15.875" v="522" actId="478"/>
          <ac:spMkLst>
            <pc:docMk/>
            <pc:sldMk cId="884735104" sldId="2147470374"/>
            <ac:spMk id="6" creationId="{F27A7DFF-D0F6-2948-F47A-A062F69DB32F}"/>
          </ac:spMkLst>
        </pc:spChg>
        <pc:spChg chg="add del mod">
          <ac:chgData name="Thankappan, Dilip" userId="e5546a62-cc74-4170-8055-d680bb142a65" providerId="ADAL" clId="{1C7B98B7-C6E6-4DF6-B28F-741843295632}" dt="2024-02-29T01:07:05.976" v="643" actId="478"/>
          <ac:spMkLst>
            <pc:docMk/>
            <pc:sldMk cId="884735104" sldId="2147470374"/>
            <ac:spMk id="18" creationId="{9412CBBE-47CF-7086-9AC9-6B780AEFF2F6}"/>
          </ac:spMkLst>
        </pc:spChg>
        <pc:spChg chg="add mod">
          <ac:chgData name="Thankappan, Dilip" userId="e5546a62-cc74-4170-8055-d680bb142a65" providerId="ADAL" clId="{1C7B98B7-C6E6-4DF6-B28F-741843295632}" dt="2024-02-29T01:06:55.185" v="642" actId="113"/>
          <ac:spMkLst>
            <pc:docMk/>
            <pc:sldMk cId="884735104" sldId="2147470374"/>
            <ac:spMk id="19" creationId="{B4D4EF28-DA92-064C-2B5C-1AA2E5A85B81}"/>
          </ac:spMkLst>
        </pc:spChg>
        <pc:spChg chg="add mod">
          <ac:chgData name="Thankappan, Dilip" userId="e5546a62-cc74-4170-8055-d680bb142a65" providerId="ADAL" clId="{1C7B98B7-C6E6-4DF6-B28F-741843295632}" dt="2024-02-29T01:07:18.022" v="650" actId="20577"/>
          <ac:spMkLst>
            <pc:docMk/>
            <pc:sldMk cId="884735104" sldId="2147470374"/>
            <ac:spMk id="20" creationId="{5975DC24-0D41-A6D4-3B13-FD5F2CD98FE9}"/>
          </ac:spMkLst>
        </pc:spChg>
        <pc:spChg chg="add mod">
          <ac:chgData name="Thankappan, Dilip" userId="e5546a62-cc74-4170-8055-d680bb142a65" providerId="ADAL" clId="{1C7B98B7-C6E6-4DF6-B28F-741843295632}" dt="2024-02-29T01:10:11.261" v="736" actId="20577"/>
          <ac:spMkLst>
            <pc:docMk/>
            <pc:sldMk cId="884735104" sldId="2147470374"/>
            <ac:spMk id="21" creationId="{AA2D16CD-E445-BF29-714A-800480742856}"/>
          </ac:spMkLst>
        </pc:spChg>
        <pc:graphicFrameChg chg="add mod modGraphic">
          <ac:chgData name="Thankappan, Dilip" userId="e5546a62-cc74-4170-8055-d680bb142a65" providerId="ADAL" clId="{1C7B98B7-C6E6-4DF6-B28F-741843295632}" dt="2024-02-29T07:54:16.605" v="4628" actId="122"/>
          <ac:graphicFrameMkLst>
            <pc:docMk/>
            <pc:sldMk cId="884735104" sldId="2147470374"/>
            <ac:graphicFrameMk id="5" creationId="{8B3294E5-FD03-E635-48FA-AA2DF0B72716}"/>
          </ac:graphicFrameMkLst>
        </pc:graphicFrameChg>
        <pc:cxnChg chg="add">
          <ac:chgData name="Thankappan, Dilip" userId="e5546a62-cc74-4170-8055-d680bb142a65" providerId="ADAL" clId="{1C7B98B7-C6E6-4DF6-B28F-741843295632}" dt="2024-02-29T01:03:00.822" v="554" actId="11529"/>
          <ac:cxnSpMkLst>
            <pc:docMk/>
            <pc:sldMk cId="884735104" sldId="2147470374"/>
            <ac:cxnSpMk id="8" creationId="{AEB7576D-0E96-AEBE-FEB9-2B13F81F1CE4}"/>
          </ac:cxnSpMkLst>
        </pc:cxnChg>
        <pc:cxnChg chg="add mod">
          <ac:chgData name="Thankappan, Dilip" userId="e5546a62-cc74-4170-8055-d680bb142a65" providerId="ADAL" clId="{1C7B98B7-C6E6-4DF6-B28F-741843295632}" dt="2024-02-29T01:03:10.284" v="556" actId="1076"/>
          <ac:cxnSpMkLst>
            <pc:docMk/>
            <pc:sldMk cId="884735104" sldId="2147470374"/>
            <ac:cxnSpMk id="9" creationId="{BCA17A85-E307-89E5-03FF-30CDDD082D3C}"/>
          </ac:cxnSpMkLst>
        </pc:cxnChg>
        <pc:cxnChg chg="add">
          <ac:chgData name="Thankappan, Dilip" userId="e5546a62-cc74-4170-8055-d680bb142a65" providerId="ADAL" clId="{1C7B98B7-C6E6-4DF6-B28F-741843295632}" dt="2024-02-29T01:03:25.675" v="557" actId="11529"/>
          <ac:cxnSpMkLst>
            <pc:docMk/>
            <pc:sldMk cId="884735104" sldId="2147470374"/>
            <ac:cxnSpMk id="11" creationId="{6CF4E4E1-5868-9BE3-1890-0F7C5D4FA0EF}"/>
          </ac:cxnSpMkLst>
        </pc:cxnChg>
        <pc:cxnChg chg="add mod">
          <ac:chgData name="Thankappan, Dilip" userId="e5546a62-cc74-4170-8055-d680bb142a65" providerId="ADAL" clId="{1C7B98B7-C6E6-4DF6-B28F-741843295632}" dt="2024-02-29T01:03:53.272" v="560" actId="14100"/>
          <ac:cxnSpMkLst>
            <pc:docMk/>
            <pc:sldMk cId="884735104" sldId="2147470374"/>
            <ac:cxnSpMk id="12" creationId="{E2F07C25-D6C9-D93E-FE0D-A52F0C1255A2}"/>
          </ac:cxnSpMkLst>
        </pc:cxnChg>
        <pc:cxnChg chg="add mod">
          <ac:chgData name="Thankappan, Dilip" userId="e5546a62-cc74-4170-8055-d680bb142a65" providerId="ADAL" clId="{1C7B98B7-C6E6-4DF6-B28F-741843295632}" dt="2024-02-29T01:04:10.261" v="562" actId="1076"/>
          <ac:cxnSpMkLst>
            <pc:docMk/>
            <pc:sldMk cId="884735104" sldId="2147470374"/>
            <ac:cxnSpMk id="13" creationId="{9C37E2F1-BBC0-6481-868B-F5941962852A}"/>
          </ac:cxnSpMkLst>
        </pc:cxnChg>
        <pc:cxnChg chg="add mod">
          <ac:chgData name="Thankappan, Dilip" userId="e5546a62-cc74-4170-8055-d680bb142a65" providerId="ADAL" clId="{1C7B98B7-C6E6-4DF6-B28F-741843295632}" dt="2024-02-29T01:04:02.836" v="561" actId="1076"/>
          <ac:cxnSpMkLst>
            <pc:docMk/>
            <pc:sldMk cId="884735104" sldId="2147470374"/>
            <ac:cxnSpMk id="14" creationId="{30F53321-6FAA-4E38-A022-CDF8EA92B1D7}"/>
          </ac:cxnSpMkLst>
        </pc:cxnChg>
      </pc:sldChg>
      <pc:sldChg chg="add del">
        <pc:chgData name="Thankappan, Dilip" userId="e5546a62-cc74-4170-8055-d680bb142a65" providerId="ADAL" clId="{1C7B98B7-C6E6-4DF6-B28F-741843295632}" dt="2024-02-29T02:20:13.954" v="738" actId="47"/>
        <pc:sldMkLst>
          <pc:docMk/>
          <pc:sldMk cId="254628381" sldId="2147470375"/>
        </pc:sldMkLst>
      </pc:sldChg>
      <pc:sldChg chg="addSp delSp modSp add mod">
        <pc:chgData name="Thankappan, Dilip" userId="e5546a62-cc74-4170-8055-d680bb142a65" providerId="ADAL" clId="{1C7B98B7-C6E6-4DF6-B28F-741843295632}" dt="2024-02-29T05:25:52.797" v="3076" actId="20577"/>
        <pc:sldMkLst>
          <pc:docMk/>
          <pc:sldMk cId="3828464392" sldId="2147470375"/>
        </pc:sldMkLst>
        <pc:spChg chg="mod">
          <ac:chgData name="Thankappan, Dilip" userId="e5546a62-cc74-4170-8055-d680bb142a65" providerId="ADAL" clId="{1C7B98B7-C6E6-4DF6-B28F-741843295632}" dt="2024-02-29T05:05:44.288" v="2678" actId="20577"/>
          <ac:spMkLst>
            <pc:docMk/>
            <pc:sldMk cId="3828464392" sldId="2147470375"/>
            <ac:spMk id="2" creationId="{8C419BE4-CF3A-F5B7-3FBB-CD283329E2FB}"/>
          </ac:spMkLst>
        </pc:spChg>
        <pc:spChg chg="add del mod">
          <ac:chgData name="Thankappan, Dilip" userId="e5546a62-cc74-4170-8055-d680bb142a65" providerId="ADAL" clId="{1C7B98B7-C6E6-4DF6-B28F-741843295632}" dt="2024-02-29T02:27:45.370" v="856" actId="478"/>
          <ac:spMkLst>
            <pc:docMk/>
            <pc:sldMk cId="3828464392" sldId="2147470375"/>
            <ac:spMk id="3" creationId="{51197AC2-B8A9-1859-357B-2FE81D152F22}"/>
          </ac:spMkLst>
        </pc:spChg>
        <pc:spChg chg="add mod">
          <ac:chgData name="Thankappan, Dilip" userId="e5546a62-cc74-4170-8055-d680bb142a65" providerId="ADAL" clId="{1C7B98B7-C6E6-4DF6-B28F-741843295632}" dt="2024-02-29T02:26:30.218" v="828" actId="14100"/>
          <ac:spMkLst>
            <pc:docMk/>
            <pc:sldMk cId="3828464392" sldId="2147470375"/>
            <ac:spMk id="4" creationId="{864C01F8-75D4-DEE9-DE3C-7B42F017AF2E}"/>
          </ac:spMkLst>
        </pc:spChg>
        <pc:spChg chg="del">
          <ac:chgData name="Thankappan, Dilip" userId="e5546a62-cc74-4170-8055-d680bb142a65" providerId="ADAL" clId="{1C7B98B7-C6E6-4DF6-B28F-741843295632}" dt="2024-02-29T05:05:49.877" v="2679" actId="478"/>
          <ac:spMkLst>
            <pc:docMk/>
            <pc:sldMk cId="3828464392" sldId="2147470375"/>
            <ac:spMk id="5" creationId="{3F0C3D73-E4F1-3DE6-E76A-7925E54067A9}"/>
          </ac:spMkLst>
        </pc:spChg>
        <pc:spChg chg="add mod">
          <ac:chgData name="Thankappan, Dilip" userId="e5546a62-cc74-4170-8055-d680bb142a65" providerId="ADAL" clId="{1C7B98B7-C6E6-4DF6-B28F-741843295632}" dt="2024-02-29T05:25:52.797" v="3076" actId="20577"/>
          <ac:spMkLst>
            <pc:docMk/>
            <pc:sldMk cId="3828464392" sldId="2147470375"/>
            <ac:spMk id="7" creationId="{67C3C5C5-D689-E7F2-C787-F9B1C8A8A616}"/>
          </ac:spMkLst>
        </pc:spChg>
        <pc:spChg chg="add mod ord">
          <ac:chgData name="Thankappan, Dilip" userId="e5546a62-cc74-4170-8055-d680bb142a65" providerId="ADAL" clId="{1C7B98B7-C6E6-4DF6-B28F-741843295632}" dt="2024-02-29T02:26:08.194" v="813" actId="113"/>
          <ac:spMkLst>
            <pc:docMk/>
            <pc:sldMk cId="3828464392" sldId="2147470375"/>
            <ac:spMk id="9" creationId="{89D3C9CB-D3F6-C436-A049-28543F10346E}"/>
          </ac:spMkLst>
        </pc:spChg>
        <pc:cxnChg chg="add del mod">
          <ac:chgData name="Thankappan, Dilip" userId="e5546a62-cc74-4170-8055-d680bb142a65" providerId="ADAL" clId="{1C7B98B7-C6E6-4DF6-B28F-741843295632}" dt="2024-02-29T02:25:05.971" v="796" actId="478"/>
          <ac:cxnSpMkLst>
            <pc:docMk/>
            <pc:sldMk cId="3828464392" sldId="2147470375"/>
            <ac:cxnSpMk id="8" creationId="{C2789642-3702-6852-9C59-01C2C633CBD0}"/>
          </ac:cxnSpMkLst>
        </pc:cxnChg>
      </pc:sldChg>
      <pc:sldChg chg="addSp modSp new del mod">
        <pc:chgData name="Thankappan, Dilip" userId="e5546a62-cc74-4170-8055-d680bb142a65" providerId="ADAL" clId="{1C7B98B7-C6E6-4DF6-B28F-741843295632}" dt="2024-02-29T07:44:37.069" v="4502" actId="2696"/>
        <pc:sldMkLst>
          <pc:docMk/>
          <pc:sldMk cId="1122768186" sldId="2147470376"/>
        </pc:sldMkLst>
        <pc:spChg chg="mod">
          <ac:chgData name="Thankappan, Dilip" userId="e5546a62-cc74-4170-8055-d680bb142a65" providerId="ADAL" clId="{1C7B98B7-C6E6-4DF6-B28F-741843295632}" dt="2024-02-29T05:26:37.579" v="3099" actId="20577"/>
          <ac:spMkLst>
            <pc:docMk/>
            <pc:sldMk cId="1122768186" sldId="2147470376"/>
            <ac:spMk id="2" creationId="{A4826B18-566D-C7BB-DF54-805C32B2F069}"/>
          </ac:spMkLst>
        </pc:spChg>
        <pc:graphicFrameChg chg="add mod modGraphic">
          <ac:chgData name="Thankappan, Dilip" userId="e5546a62-cc74-4170-8055-d680bb142a65" providerId="ADAL" clId="{1C7B98B7-C6E6-4DF6-B28F-741843295632}" dt="2024-02-29T05:55:45.428" v="3218" actId="20577"/>
          <ac:graphicFrameMkLst>
            <pc:docMk/>
            <pc:sldMk cId="1122768186" sldId="2147470376"/>
            <ac:graphicFrameMk id="3" creationId="{1EE2245F-E58E-6104-FAA2-00C2AECD229A}"/>
          </ac:graphicFrameMkLst>
        </pc:graphicFrameChg>
      </pc:sldChg>
      <pc:sldChg chg="addSp delSp modSp new mod modClrScheme chgLayout">
        <pc:chgData name="Thankappan, Dilip" userId="e5546a62-cc74-4170-8055-d680bb142a65" providerId="ADAL" clId="{1C7B98B7-C6E6-4DF6-B28F-741843295632}" dt="2024-02-29T08:08:17.320" v="4950" actId="20577"/>
        <pc:sldMkLst>
          <pc:docMk/>
          <pc:sldMk cId="586367607" sldId="2147470377"/>
        </pc:sldMkLst>
        <pc:spChg chg="del mod ord">
          <ac:chgData name="Thankappan, Dilip" userId="e5546a62-cc74-4170-8055-d680bb142a65" providerId="ADAL" clId="{1C7B98B7-C6E6-4DF6-B28F-741843295632}" dt="2024-02-29T05:59:58.398" v="3220" actId="700"/>
          <ac:spMkLst>
            <pc:docMk/>
            <pc:sldMk cId="586367607" sldId="2147470377"/>
            <ac:spMk id="2" creationId="{870FE857-96C9-43ED-402E-BC6BCCD2C6A5}"/>
          </ac:spMkLst>
        </pc:spChg>
        <pc:spChg chg="del">
          <ac:chgData name="Thankappan, Dilip" userId="e5546a62-cc74-4170-8055-d680bb142a65" providerId="ADAL" clId="{1C7B98B7-C6E6-4DF6-B28F-741843295632}" dt="2024-02-29T05:59:58.398" v="3220" actId="700"/>
          <ac:spMkLst>
            <pc:docMk/>
            <pc:sldMk cId="586367607" sldId="2147470377"/>
            <ac:spMk id="3" creationId="{7809AC12-CEF2-335D-CBB0-3CDE7AEED8D7}"/>
          </ac:spMkLst>
        </pc:spChg>
        <pc:spChg chg="add mod ord">
          <ac:chgData name="Thankappan, Dilip" userId="e5546a62-cc74-4170-8055-d680bb142a65" providerId="ADAL" clId="{1C7B98B7-C6E6-4DF6-B28F-741843295632}" dt="2024-02-29T08:08:17.320" v="4950" actId="20577"/>
          <ac:spMkLst>
            <pc:docMk/>
            <pc:sldMk cId="586367607" sldId="2147470377"/>
            <ac:spMk id="4" creationId="{C578DF7B-E567-9E4C-C3B0-04ABCFC92CFE}"/>
          </ac:spMkLst>
        </pc:spChg>
        <pc:graphicFrameChg chg="add mod modGraphic">
          <ac:chgData name="Thankappan, Dilip" userId="e5546a62-cc74-4170-8055-d680bb142a65" providerId="ADAL" clId="{1C7B98B7-C6E6-4DF6-B28F-741843295632}" dt="2024-02-29T08:07:43.036" v="4922" actId="20577"/>
          <ac:graphicFrameMkLst>
            <pc:docMk/>
            <pc:sldMk cId="586367607" sldId="2147470377"/>
            <ac:graphicFrameMk id="5" creationId="{9CA8A11E-73AD-2839-2D87-76B70DD63630}"/>
          </ac:graphicFrameMkLst>
        </pc:graphicFrameChg>
      </pc:sldChg>
      <pc:sldChg chg="addSp delSp modSp new mod modClrScheme chgLayout">
        <pc:chgData name="Thankappan, Dilip" userId="e5546a62-cc74-4170-8055-d680bb142a65" providerId="ADAL" clId="{1C7B98B7-C6E6-4DF6-B28F-741843295632}" dt="2024-02-29T07:32:16.753" v="3959" actId="20577"/>
        <pc:sldMkLst>
          <pc:docMk/>
          <pc:sldMk cId="3135643999" sldId="2147470378"/>
        </pc:sldMkLst>
        <pc:spChg chg="del mod ord">
          <ac:chgData name="Thankappan, Dilip" userId="e5546a62-cc74-4170-8055-d680bb142a65" providerId="ADAL" clId="{1C7B98B7-C6E6-4DF6-B28F-741843295632}" dt="2024-02-29T07:31:15.676" v="3920" actId="700"/>
          <ac:spMkLst>
            <pc:docMk/>
            <pc:sldMk cId="3135643999" sldId="2147470378"/>
            <ac:spMk id="2" creationId="{3A7F5CE5-F0A2-7127-44D2-0A5A590B1CAC}"/>
          </ac:spMkLst>
        </pc:spChg>
        <pc:spChg chg="add del mod ord">
          <ac:chgData name="Thankappan, Dilip" userId="e5546a62-cc74-4170-8055-d680bb142a65" providerId="ADAL" clId="{1C7B98B7-C6E6-4DF6-B28F-741843295632}" dt="2024-02-29T07:31:39.656" v="3921" actId="700"/>
          <ac:spMkLst>
            <pc:docMk/>
            <pc:sldMk cId="3135643999" sldId="2147470378"/>
            <ac:spMk id="3" creationId="{85374411-9211-40DD-86EE-066C8E989451}"/>
          </ac:spMkLst>
        </pc:spChg>
        <pc:spChg chg="add del mod ord">
          <ac:chgData name="Thankappan, Dilip" userId="e5546a62-cc74-4170-8055-d680bb142a65" providerId="ADAL" clId="{1C7B98B7-C6E6-4DF6-B28F-741843295632}" dt="2024-02-29T07:31:39.656" v="3921" actId="700"/>
          <ac:spMkLst>
            <pc:docMk/>
            <pc:sldMk cId="3135643999" sldId="2147470378"/>
            <ac:spMk id="4" creationId="{B04BC244-6B28-4BC7-FBDD-3C8F78012905}"/>
          </ac:spMkLst>
        </pc:spChg>
        <pc:spChg chg="add del mod ord">
          <ac:chgData name="Thankappan, Dilip" userId="e5546a62-cc74-4170-8055-d680bb142a65" providerId="ADAL" clId="{1C7B98B7-C6E6-4DF6-B28F-741843295632}" dt="2024-02-29T07:31:39.656" v="3921" actId="700"/>
          <ac:spMkLst>
            <pc:docMk/>
            <pc:sldMk cId="3135643999" sldId="2147470378"/>
            <ac:spMk id="5" creationId="{F50EC8D2-27E4-23F7-28EB-59978035AC11}"/>
          </ac:spMkLst>
        </pc:spChg>
        <pc:spChg chg="add mod ord">
          <ac:chgData name="Thankappan, Dilip" userId="e5546a62-cc74-4170-8055-d680bb142a65" providerId="ADAL" clId="{1C7B98B7-C6E6-4DF6-B28F-741843295632}" dt="2024-02-29T07:32:16.753" v="3959" actId="20577"/>
          <ac:spMkLst>
            <pc:docMk/>
            <pc:sldMk cId="3135643999" sldId="2147470378"/>
            <ac:spMk id="6" creationId="{37E27B0C-0ACE-7A1E-E6AD-8223EE7910FE}"/>
          </ac:spMkLst>
        </pc:spChg>
        <pc:spChg chg="add del mod ord">
          <ac:chgData name="Thankappan, Dilip" userId="e5546a62-cc74-4170-8055-d680bb142a65" providerId="ADAL" clId="{1C7B98B7-C6E6-4DF6-B28F-741843295632}" dt="2024-02-29T07:32:07.938" v="3945" actId="478"/>
          <ac:spMkLst>
            <pc:docMk/>
            <pc:sldMk cId="3135643999" sldId="2147470378"/>
            <ac:spMk id="7" creationId="{DF8989E7-A8AF-D62B-760C-EAF02D079CBA}"/>
          </ac:spMkLst>
        </pc:spChg>
        <pc:spChg chg="add mod ord">
          <ac:chgData name="Thankappan, Dilip" userId="e5546a62-cc74-4170-8055-d680bb142a65" providerId="ADAL" clId="{1C7B98B7-C6E6-4DF6-B28F-741843295632}" dt="2024-02-29T07:31:39.656" v="3921" actId="700"/>
          <ac:spMkLst>
            <pc:docMk/>
            <pc:sldMk cId="3135643999" sldId="2147470378"/>
            <ac:spMk id="8" creationId="{A9A357E8-0A05-06F5-344F-B70B90C8087F}"/>
          </ac:spMkLst>
        </pc:spChg>
      </pc:sldChg>
      <pc:sldChg chg="addSp modSp new mod">
        <pc:chgData name="Thankappan, Dilip" userId="e5546a62-cc74-4170-8055-d680bb142a65" providerId="ADAL" clId="{1C7B98B7-C6E6-4DF6-B28F-741843295632}" dt="2024-02-29T08:09:17.838" v="4952" actId="14100"/>
        <pc:sldMkLst>
          <pc:docMk/>
          <pc:sldMk cId="3312354527" sldId="2147470379"/>
        </pc:sldMkLst>
        <pc:spChg chg="mod">
          <ac:chgData name="Thankappan, Dilip" userId="e5546a62-cc74-4170-8055-d680bb142a65" providerId="ADAL" clId="{1C7B98B7-C6E6-4DF6-B28F-741843295632}" dt="2024-02-29T07:33:34.828" v="4002" actId="20577"/>
          <ac:spMkLst>
            <pc:docMk/>
            <pc:sldMk cId="3312354527" sldId="2147470379"/>
            <ac:spMk id="2" creationId="{189709BA-6C02-0AC0-40F4-902CFE6957D6}"/>
          </ac:spMkLst>
        </pc:spChg>
        <pc:graphicFrameChg chg="add mod modGraphic">
          <ac:chgData name="Thankappan, Dilip" userId="e5546a62-cc74-4170-8055-d680bb142a65" providerId="ADAL" clId="{1C7B98B7-C6E6-4DF6-B28F-741843295632}" dt="2024-02-29T08:09:17.838" v="4952" actId="14100"/>
          <ac:graphicFrameMkLst>
            <pc:docMk/>
            <pc:sldMk cId="3312354527" sldId="2147470379"/>
            <ac:graphicFrameMk id="3" creationId="{AE425979-CDA5-205F-FE5C-863C85900839}"/>
          </ac:graphicFrameMkLst>
        </pc:graphicFrameChg>
      </pc:sldChg>
      <pc:sldChg chg="addSp delSp modSp add">
        <pc:chgData name="Thankappan, Dilip" userId="e5546a62-cc74-4170-8055-d680bb142a65" providerId="ADAL" clId="{1C7B98B7-C6E6-4DF6-B28F-741843295632}" dt="2024-02-29T07:54:02.646" v="4627" actId="1076"/>
        <pc:sldMkLst>
          <pc:docMk/>
          <pc:sldMk cId="3218446591" sldId="2147470380"/>
        </pc:sldMkLst>
        <pc:picChg chg="del">
          <ac:chgData name="Thankappan, Dilip" userId="e5546a62-cc74-4170-8055-d680bb142a65" providerId="ADAL" clId="{1C7B98B7-C6E6-4DF6-B28F-741843295632}" dt="2024-02-29T07:53:53.877" v="4624" actId="478"/>
          <ac:picMkLst>
            <pc:docMk/>
            <pc:sldMk cId="3218446591" sldId="2147470380"/>
            <ac:picMk id="2050" creationId="{087B60D1-1CF6-26CE-D67C-F90B2E760327}"/>
          </ac:picMkLst>
        </pc:picChg>
        <pc:picChg chg="add mod">
          <ac:chgData name="Thankappan, Dilip" userId="e5546a62-cc74-4170-8055-d680bb142a65" providerId="ADAL" clId="{1C7B98B7-C6E6-4DF6-B28F-741843295632}" dt="2024-02-29T07:54:02.646" v="4627" actId="1076"/>
          <ac:picMkLst>
            <pc:docMk/>
            <pc:sldMk cId="3218446591" sldId="2147470380"/>
            <ac:picMk id="3074" creationId="{972C16B7-6EEC-F3E7-29B7-EC8C0AA5B547}"/>
          </ac:picMkLst>
        </pc:picChg>
      </pc:sldChg>
    </pc:docChg>
  </pc:docChgLst>
  <pc:docChgLst>
    <pc:chgData name="Thankappan, Dilip" userId="e5546a62-cc74-4170-8055-d680bb142a65" providerId="ADAL" clId="{DD906B15-4A3E-43DE-83FD-2DF460801808}"/>
    <pc:docChg chg="undo custSel addSld delSld modSld sldOrd">
      <pc:chgData name="Thankappan, Dilip" userId="e5546a62-cc74-4170-8055-d680bb142a65" providerId="ADAL" clId="{DD906B15-4A3E-43DE-83FD-2DF460801808}" dt="2024-02-02T12:34:14.470" v="853"/>
      <pc:docMkLst>
        <pc:docMk/>
      </pc:docMkLst>
      <pc:sldChg chg="modSp mod">
        <pc:chgData name="Thankappan, Dilip" userId="e5546a62-cc74-4170-8055-d680bb142a65" providerId="ADAL" clId="{DD906B15-4A3E-43DE-83FD-2DF460801808}" dt="2024-02-02T12:33:34.805" v="847" actId="20577"/>
        <pc:sldMkLst>
          <pc:docMk/>
          <pc:sldMk cId="3448401132" sldId="2145706709"/>
        </pc:sldMkLst>
        <pc:spChg chg="mod">
          <ac:chgData name="Thankappan, Dilip" userId="e5546a62-cc74-4170-8055-d680bb142a65" providerId="ADAL" clId="{DD906B15-4A3E-43DE-83FD-2DF460801808}" dt="2023-08-28T00:13:43.703" v="429" actId="20577"/>
          <ac:spMkLst>
            <pc:docMk/>
            <pc:sldMk cId="3448401132" sldId="2145706709"/>
            <ac:spMk id="7" creationId="{F47D54A4-C657-2E4C-48D2-E7F2D47A3186}"/>
          </ac:spMkLst>
        </pc:spChg>
        <pc:spChg chg="mod">
          <ac:chgData name="Thankappan, Dilip" userId="e5546a62-cc74-4170-8055-d680bb142a65" providerId="ADAL" clId="{DD906B15-4A3E-43DE-83FD-2DF460801808}" dt="2024-02-02T12:33:34.805" v="847" actId="20577"/>
          <ac:spMkLst>
            <pc:docMk/>
            <pc:sldMk cId="3448401132" sldId="2145706709"/>
            <ac:spMk id="8" creationId="{868CC9E0-899B-3209-F0BA-1710FF4AB92B}"/>
          </ac:spMkLst>
        </pc:spChg>
      </pc:sldChg>
      <pc:sldChg chg="del">
        <pc:chgData name="Thankappan, Dilip" userId="e5546a62-cc74-4170-8055-d680bb142a65" providerId="ADAL" clId="{DD906B15-4A3E-43DE-83FD-2DF460801808}" dt="2023-08-28T00:16:02.031" v="463" actId="47"/>
        <pc:sldMkLst>
          <pc:docMk/>
          <pc:sldMk cId="2104925110" sldId="2145706714"/>
        </pc:sldMkLst>
      </pc:sldChg>
      <pc:sldChg chg="del">
        <pc:chgData name="Thankappan, Dilip" userId="e5546a62-cc74-4170-8055-d680bb142a65" providerId="ADAL" clId="{DD906B15-4A3E-43DE-83FD-2DF460801808}" dt="2023-08-28T04:56:41.386" v="683" actId="47"/>
        <pc:sldMkLst>
          <pc:docMk/>
          <pc:sldMk cId="3936584393" sldId="2145706715"/>
        </pc:sldMkLst>
      </pc:sldChg>
      <pc:sldChg chg="addSp delSp modSp add del mod ord">
        <pc:chgData name="Thankappan, Dilip" userId="e5546a62-cc74-4170-8055-d680bb142a65" providerId="ADAL" clId="{DD906B15-4A3E-43DE-83FD-2DF460801808}" dt="2024-01-30T05:19:06.617" v="787" actId="13822"/>
        <pc:sldMkLst>
          <pc:docMk/>
          <pc:sldMk cId="3857635628" sldId="2147470366"/>
        </pc:sldMkLst>
        <pc:spChg chg="mod">
          <ac:chgData name="Thankappan, Dilip" userId="e5546a62-cc74-4170-8055-d680bb142a65" providerId="ADAL" clId="{DD906B15-4A3E-43DE-83FD-2DF460801808}" dt="2023-08-28T08:23:58.020" v="755" actId="20577"/>
          <ac:spMkLst>
            <pc:docMk/>
            <pc:sldMk cId="3857635628" sldId="2147470366"/>
            <ac:spMk id="2" creationId="{8C419BE4-CF3A-F5B7-3FBB-CD283329E2FB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3" creationId="{FEC2A979-F175-A78E-8D42-029479AFA43E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" creationId="{3AE107D4-4934-BCF9-1590-14BA1AE0CD96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5" creationId="{E74DA556-1147-E397-7DD0-8828E350AB28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6" creationId="{036D174A-CA26-E26D-C81B-26A6C4130394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7" creationId="{E4C5E3E7-19A4-3DCD-A8B4-DB3743C7D424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8" creationId="{0EFA5A25-3B8C-438F-B677-CF7AFF33937A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9" creationId="{F1F29164-D2E9-5F85-037C-01B89EE41C2F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10" creationId="{F2647807-D019-E797-048F-B18950775972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11" creationId="{7804D2A0-78AE-76BF-0524-142FC05D8B5E}"/>
          </ac:spMkLst>
        </pc:spChg>
        <pc:spChg chg="add 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14" creationId="{5D22E3A6-47B2-FEE7-E190-04C41E79A71C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18" creationId="{FFF35607-0833-7CD1-9F7C-507B12C04C35}"/>
          </ac:spMkLst>
        </pc:spChg>
        <pc:spChg chg="add 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21" creationId="{9C035B00-5A5A-584D-B71D-47B6318E5708}"/>
          </ac:spMkLst>
        </pc:spChg>
        <pc:spChg chg="del mod">
          <ac:chgData name="Thankappan, Dilip" userId="e5546a62-cc74-4170-8055-d680bb142a65" providerId="ADAL" clId="{DD906B15-4A3E-43DE-83FD-2DF460801808}" dt="2023-08-28T00:05:28.674" v="289" actId="478"/>
          <ac:spMkLst>
            <pc:docMk/>
            <pc:sldMk cId="3857635628" sldId="2147470366"/>
            <ac:spMk id="21" creationId="{F2976AF9-7C5A-1B83-B919-B2A0D285E4F6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23" creationId="{02356F00-8706-337C-77D1-F64C5E064C4D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24" creationId="{DAC98CB8-5E7B-68C2-F014-DC4664283BD6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25" creationId="{DD43149B-ACCC-7C1F-25F3-6B7028262AE4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29" creationId="{0BCDE872-B501-6940-5C8E-01B948571100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31" creationId="{E2122960-F53D-9C3C-BD62-A192FC59A808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33" creationId="{1770A419-BCBE-9E0E-1641-986D12978929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34" creationId="{4A6D613B-6ADB-34E5-24DD-6621DF49FDBC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35" creationId="{52851935-7D5A-0798-0FE4-6E623CF8B225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36" creationId="{8EFFCBF4-4A63-C6E1-21AF-E64227CEF31A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38" creationId="{9C624B17-082F-A823-CE30-BDFBA6008D2B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0" creationId="{E66EFDCB-0E50-8406-2BC2-162FA6CF8D96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1" creationId="{DFB4A838-918D-CEC9-DB33-0D723C2766D0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2" creationId="{BE40BF87-F43F-64EE-279C-7054EACB424C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4" creationId="{EF66A45F-8002-981A-B01C-90682A2887CF}"/>
          </ac:spMkLst>
        </pc:spChg>
        <pc:spChg chg="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5" creationId="{2359EBA0-6E7D-F249-9409-859D1CF35D98}"/>
          </ac:spMkLst>
        </pc:spChg>
        <pc:spChg chg="add 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6" creationId="{B5D49549-B03D-63D1-5317-D0BB42D6FF8B}"/>
          </ac:spMkLst>
        </pc:spChg>
        <pc:spChg chg="add mod">
          <ac:chgData name="Thankappan, Dilip" userId="e5546a62-cc74-4170-8055-d680bb142a65" providerId="ADAL" clId="{DD906B15-4A3E-43DE-83FD-2DF460801808}" dt="2024-01-30T05:19:06.617" v="787" actId="13822"/>
          <ac:spMkLst>
            <pc:docMk/>
            <pc:sldMk cId="3857635628" sldId="2147470366"/>
            <ac:spMk id="48" creationId="{82EAAFCD-2930-073D-C577-0E0F7AF729D2}"/>
          </ac:spMkLst>
        </pc:spChg>
        <pc:spChg chg="add mod or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49" creationId="{59D67088-FA50-87B1-1F70-3C79C671E85D}"/>
          </ac:spMkLst>
        </pc:spChg>
        <pc:spChg chg="add mod or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69" creationId="{2847D076-96E8-933D-63E1-5EEFEE21EDA7}"/>
          </ac:spMkLst>
        </pc:spChg>
        <pc:spChg chg="add del mod">
          <ac:chgData name="Thankappan, Dilip" userId="e5546a62-cc74-4170-8055-d680bb142a65" providerId="ADAL" clId="{DD906B15-4A3E-43DE-83FD-2DF460801808}" dt="2023-08-28T00:06:56.924" v="317"/>
          <ac:spMkLst>
            <pc:docMk/>
            <pc:sldMk cId="3857635628" sldId="2147470366"/>
            <ac:spMk id="70" creationId="{08645D73-7F6E-B3AD-EDCD-0442D371AB14}"/>
          </ac:spMkLst>
        </pc:spChg>
        <pc:spChg chg="add 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73" creationId="{1597B3A2-47CD-DB16-ACD0-6A8E2CE1370F}"/>
          </ac:spMkLst>
        </pc:spChg>
        <pc:spChg chg="add mo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81" creationId="{2E4C3192-A0B7-EB22-EB99-AB50547DDA07}"/>
          </ac:spMkLst>
        </pc:spChg>
        <pc:spChg chg="add mod ord">
          <ac:chgData name="Thankappan, Dilip" userId="e5546a62-cc74-4170-8055-d680bb142a65" providerId="ADAL" clId="{DD906B15-4A3E-43DE-83FD-2DF460801808}" dt="2024-01-30T05:17:35.603" v="758" actId="1076"/>
          <ac:spMkLst>
            <pc:docMk/>
            <pc:sldMk cId="3857635628" sldId="2147470366"/>
            <ac:spMk id="82" creationId="{FC0E4DEA-D2D5-199B-3C4A-B09C34720344}"/>
          </ac:spMkLst>
        </pc:spChg>
        <pc:picChg chg="mod">
          <ac:chgData name="Thankappan, Dilip" userId="e5546a62-cc74-4170-8055-d680bb142a65" providerId="ADAL" clId="{DD906B15-4A3E-43DE-83FD-2DF460801808}" dt="2024-01-30T05:17:35.603" v="758" actId="1076"/>
          <ac:picMkLst>
            <pc:docMk/>
            <pc:sldMk cId="3857635628" sldId="2147470366"/>
            <ac:picMk id="19" creationId="{C8BCE6F5-BAB0-2944-D2EF-B545B57C9826}"/>
          </ac:picMkLst>
        </pc:picChg>
        <pc:picChg chg="mod">
          <ac:chgData name="Thankappan, Dilip" userId="e5546a62-cc74-4170-8055-d680bb142a65" providerId="ADAL" clId="{DD906B15-4A3E-43DE-83FD-2DF460801808}" dt="2024-01-30T05:17:35.603" v="758" actId="1076"/>
          <ac:picMkLst>
            <pc:docMk/>
            <pc:sldMk cId="3857635628" sldId="2147470366"/>
            <ac:picMk id="20" creationId="{C106C8BE-34EE-7A96-035C-D402E19B55E5}"/>
          </ac:picMkLst>
        </pc:picChg>
        <pc:picChg chg="add mod">
          <ac:chgData name="Thankappan, Dilip" userId="e5546a62-cc74-4170-8055-d680bb142a65" providerId="ADAL" clId="{DD906B15-4A3E-43DE-83FD-2DF460801808}" dt="2024-01-30T05:17:35.603" v="758" actId="1076"/>
          <ac:picMkLst>
            <pc:docMk/>
            <pc:sldMk cId="3857635628" sldId="2147470366"/>
            <ac:picMk id="68" creationId="{00B94D38-9B36-A057-50B4-739FD866C9CE}"/>
          </ac:picMkLst>
        </pc:picChg>
        <pc:picChg chg="add del mod">
          <ac:chgData name="Thankappan, Dilip" userId="e5546a62-cc74-4170-8055-d680bb142a65" providerId="ADAL" clId="{DD906B15-4A3E-43DE-83FD-2DF460801808}" dt="2023-08-28T00:06:56.924" v="317"/>
          <ac:picMkLst>
            <pc:docMk/>
            <pc:sldMk cId="3857635628" sldId="2147470366"/>
            <ac:picMk id="71" creationId="{799E6A00-282B-F781-EA25-06292F00E8BE}"/>
          </ac:picMkLst>
        </pc:picChg>
        <pc:picChg chg="add del">
          <ac:chgData name="Thankappan, Dilip" userId="e5546a62-cc74-4170-8055-d680bb142a65" providerId="ADAL" clId="{DD906B15-4A3E-43DE-83FD-2DF460801808}" dt="2023-08-28T00:07:00.590" v="319"/>
          <ac:picMkLst>
            <pc:docMk/>
            <pc:sldMk cId="3857635628" sldId="2147470366"/>
            <ac:picMk id="72" creationId="{B6EF3AA9-4A36-AB14-64DD-0DA728AA397B}"/>
          </ac:picMkLst>
        </pc:picChg>
        <pc:picChg chg="add mod">
          <ac:chgData name="Thankappan, Dilip" userId="e5546a62-cc74-4170-8055-d680bb142a65" providerId="ADAL" clId="{DD906B15-4A3E-43DE-83FD-2DF460801808}" dt="2024-01-30T05:17:35.603" v="758" actId="1076"/>
          <ac:picMkLst>
            <pc:docMk/>
            <pc:sldMk cId="3857635628" sldId="2147470366"/>
            <ac:picMk id="74" creationId="{15BA8774-648F-EA2D-ED66-1B29AC9AD91C}"/>
          </ac:picMkLst>
        </pc:pic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12" creationId="{35E8F25D-1848-2DDD-6B6D-6AFAF4D29B99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13" creationId="{7A705432-503B-A7E5-A956-0D6B94796E1B}"/>
          </ac:cxnSpMkLst>
        </pc:cxnChg>
        <pc:cxnChg chg="del mod">
          <ac:chgData name="Thankappan, Dilip" userId="e5546a62-cc74-4170-8055-d680bb142a65" providerId="ADAL" clId="{DD906B15-4A3E-43DE-83FD-2DF460801808}" dt="2023-08-28T00:08:27.609" v="338" actId="478"/>
          <ac:cxnSpMkLst>
            <pc:docMk/>
            <pc:sldMk cId="3857635628" sldId="2147470366"/>
            <ac:cxnSpMk id="14" creationId="{A50466F3-E170-8508-AD13-6E12AE7AC321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15" creationId="{86830CAE-0C0B-E778-2FAF-A8F62236FCCB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16" creationId="{8E8C351D-CCD8-8A87-2F8F-1C6546FEE340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17" creationId="{DBF3F5C0-11A7-E26C-450A-CC113B205563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22" creationId="{939DFA4A-6F8B-D666-382C-F509A5014C26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26" creationId="{B4292FAE-191D-EAB7-6F55-B4FD1B6D4B54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27" creationId="{F1238739-525B-D851-621B-471E8DDF0402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28" creationId="{C3786E0D-5A63-4158-03FF-56645A900F51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30" creationId="{D0DB0412-2265-D4AF-B898-938076C2EA7A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32" creationId="{A30D68F1-6389-9576-3445-121D90C8450D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37" creationId="{640B4E82-E3A2-9AB9-F19A-8CAD087DFCEE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39" creationId="{4BC8F4C8-2116-A417-17F1-933EB2ABCDCF}"/>
          </ac:cxnSpMkLst>
        </pc:cxnChg>
        <pc:cxnChg chg="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43" creationId="{D80A4906-9E05-4E2A-92CC-3EC3AD91A660}"/>
          </ac:cxnSpMkLst>
        </pc:cxnChg>
        <pc:cxnChg chg="add 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47" creationId="{7EAB578D-A1CA-9F50-624E-B883CF1781A2}"/>
          </ac:cxnSpMkLst>
        </pc:cxnChg>
        <pc:cxnChg chg="add 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76" creationId="{D062DBC7-048B-CA09-5BB1-B47BC17B99C4}"/>
          </ac:cxnSpMkLst>
        </pc:cxnChg>
        <pc:cxnChg chg="add mod">
          <ac:chgData name="Thankappan, Dilip" userId="e5546a62-cc74-4170-8055-d680bb142a65" providerId="ADAL" clId="{DD906B15-4A3E-43DE-83FD-2DF460801808}" dt="2024-01-30T05:17:35.603" v="758" actId="1076"/>
          <ac:cxnSpMkLst>
            <pc:docMk/>
            <pc:sldMk cId="3857635628" sldId="2147470366"/>
            <ac:cxnSpMk id="79" creationId="{5C6D3F74-0A44-FCF0-3CCC-1DEE583D99D6}"/>
          </ac:cxnSpMkLst>
        </pc:cxnChg>
      </pc:sldChg>
      <pc:sldChg chg="addSp delSp modSp new mod ord">
        <pc:chgData name="Thankappan, Dilip" userId="e5546a62-cc74-4170-8055-d680bb142a65" providerId="ADAL" clId="{DD906B15-4A3E-43DE-83FD-2DF460801808}" dt="2023-08-28T08:15:05.290" v="687"/>
        <pc:sldMkLst>
          <pc:docMk/>
          <pc:sldMk cId="816208619" sldId="2147470367"/>
        </pc:sldMkLst>
        <pc:spChg chg="mod">
          <ac:chgData name="Thankappan, Dilip" userId="e5546a62-cc74-4170-8055-d680bb142a65" providerId="ADAL" clId="{DD906B15-4A3E-43DE-83FD-2DF460801808}" dt="2023-08-28T00:14:11.848" v="446" actId="20577"/>
          <ac:spMkLst>
            <pc:docMk/>
            <pc:sldMk cId="816208619" sldId="2147470367"/>
            <ac:spMk id="2" creationId="{A3A34061-1C61-5C2A-22AA-F5B57E905B14}"/>
          </ac:spMkLst>
        </pc:spChg>
        <pc:spChg chg="add del mod">
          <ac:chgData name="Thankappan, Dilip" userId="e5546a62-cc74-4170-8055-d680bb142a65" providerId="ADAL" clId="{DD906B15-4A3E-43DE-83FD-2DF460801808}" dt="2023-08-27T23:46:36.852" v="13" actId="478"/>
          <ac:spMkLst>
            <pc:docMk/>
            <pc:sldMk cId="816208619" sldId="2147470367"/>
            <ac:spMk id="4" creationId="{398D6FC9-565E-5D66-3A16-AE2556FE25A1}"/>
          </ac:spMkLst>
        </pc:spChg>
        <pc:graphicFrameChg chg="add mod modGraphic">
          <ac:chgData name="Thankappan, Dilip" userId="e5546a62-cc74-4170-8055-d680bb142a65" providerId="ADAL" clId="{DD906B15-4A3E-43DE-83FD-2DF460801808}" dt="2023-08-28T00:15:25.785" v="462" actId="20577"/>
          <ac:graphicFrameMkLst>
            <pc:docMk/>
            <pc:sldMk cId="816208619" sldId="2147470367"/>
            <ac:graphicFrameMk id="3" creationId="{C23362A2-CE0C-218F-B671-0C6367D6193B}"/>
          </ac:graphicFrameMkLst>
        </pc:graphicFrameChg>
        <pc:graphicFrameChg chg="add del mod modGraphic">
          <ac:chgData name="Thankappan, Dilip" userId="e5546a62-cc74-4170-8055-d680bb142a65" providerId="ADAL" clId="{DD906B15-4A3E-43DE-83FD-2DF460801808}" dt="2023-08-27T23:55:00.358" v="243" actId="478"/>
          <ac:graphicFrameMkLst>
            <pc:docMk/>
            <pc:sldMk cId="816208619" sldId="2147470367"/>
            <ac:graphicFrameMk id="5" creationId="{90EA70F8-8D9C-9B44-CB8E-1ADDC982B4E4}"/>
          </ac:graphicFrameMkLst>
        </pc:graphicFrameChg>
      </pc:sldChg>
      <pc:sldChg chg="addSp modSp new mod">
        <pc:chgData name="Thankappan, Dilip" userId="e5546a62-cc74-4170-8055-d680bb142a65" providerId="ADAL" clId="{DD906B15-4A3E-43DE-83FD-2DF460801808}" dt="2024-01-30T05:17:20.726" v="757" actId="5793"/>
        <pc:sldMkLst>
          <pc:docMk/>
          <pc:sldMk cId="76726104" sldId="2147470368"/>
        </pc:sldMkLst>
        <pc:spChg chg="mod">
          <ac:chgData name="Thankappan, Dilip" userId="e5546a62-cc74-4170-8055-d680bb142a65" providerId="ADAL" clId="{DD906B15-4A3E-43DE-83FD-2DF460801808}" dt="2023-08-28T04:54:00.581" v="544" actId="20577"/>
          <ac:spMkLst>
            <pc:docMk/>
            <pc:sldMk cId="76726104" sldId="2147470368"/>
            <ac:spMk id="2" creationId="{1F77389B-F5A5-6E7B-ACE1-0D9B54A80C4B}"/>
          </ac:spMkLst>
        </pc:spChg>
        <pc:spChg chg="add mod">
          <ac:chgData name="Thankappan, Dilip" userId="e5546a62-cc74-4170-8055-d680bb142a65" providerId="ADAL" clId="{DD906B15-4A3E-43DE-83FD-2DF460801808}" dt="2024-01-30T05:17:20.726" v="757" actId="5793"/>
          <ac:spMkLst>
            <pc:docMk/>
            <pc:sldMk cId="76726104" sldId="2147470368"/>
            <ac:spMk id="3" creationId="{2E1FD47C-52A3-2F17-E2DA-5AABA19AF564}"/>
          </ac:spMkLst>
        </pc:spChg>
      </pc:sldChg>
      <pc:sldChg chg="addSp delSp modSp mod">
        <pc:chgData name="Thankappan, Dilip" userId="e5546a62-cc74-4170-8055-d680bb142a65" providerId="ADAL" clId="{DD906B15-4A3E-43DE-83FD-2DF460801808}" dt="2024-02-02T12:34:01.184" v="850" actId="478"/>
        <pc:sldMkLst>
          <pc:docMk/>
          <pc:sldMk cId="575587304" sldId="2147470369"/>
        </pc:sldMkLst>
        <pc:spChg chg="mod">
          <ac:chgData name="Thankappan, Dilip" userId="e5546a62-cc74-4170-8055-d680bb142a65" providerId="ADAL" clId="{DD906B15-4A3E-43DE-83FD-2DF460801808}" dt="2023-08-28T08:23:54.065" v="754" actId="6549"/>
          <ac:spMkLst>
            <pc:docMk/>
            <pc:sldMk cId="575587304" sldId="2147470369"/>
            <ac:spMk id="2" creationId="{8C419BE4-CF3A-F5B7-3FBB-CD283329E2FB}"/>
          </ac:spMkLst>
        </pc:spChg>
        <pc:spChg chg="add del">
          <ac:chgData name="Thankappan, Dilip" userId="e5546a62-cc74-4170-8055-d680bb142a65" providerId="ADAL" clId="{DD906B15-4A3E-43DE-83FD-2DF460801808}" dt="2024-02-02T12:34:01.184" v="850" actId="478"/>
          <ac:spMkLst>
            <pc:docMk/>
            <pc:sldMk cId="575587304" sldId="2147470369"/>
            <ac:spMk id="3" creationId="{FEC2A979-F175-A78E-8D42-029479AFA43E}"/>
          </ac:spMkLst>
        </pc:spChg>
        <pc:spChg chg="mod">
          <ac:chgData name="Thankappan, Dilip" userId="e5546a62-cc74-4170-8055-d680bb142a65" providerId="ADAL" clId="{DD906B15-4A3E-43DE-83FD-2DF460801808}" dt="2024-02-02T12:33:52.327" v="848" actId="1076"/>
          <ac:spMkLst>
            <pc:docMk/>
            <pc:sldMk cId="575587304" sldId="2147470369"/>
            <ac:spMk id="18" creationId="{FFF35607-0833-7CD1-9F7C-507B12C04C35}"/>
          </ac:spMkLst>
        </pc:spChg>
        <pc:spChg chg="mod">
          <ac:chgData name="Thankappan, Dilip" userId="e5546a62-cc74-4170-8055-d680bb142a65" providerId="ADAL" clId="{DD906B15-4A3E-43DE-83FD-2DF460801808}" dt="2023-08-28T08:18:47.432" v="736" actId="208"/>
          <ac:spMkLst>
            <pc:docMk/>
            <pc:sldMk cId="575587304" sldId="2147470369"/>
            <ac:spMk id="21" creationId="{F2976AF9-7C5A-1B83-B919-B2A0D285E4F6}"/>
          </ac:spMkLst>
        </pc:spChg>
        <pc:spChg chg="add mod">
          <ac:chgData name="Thankappan, Dilip" userId="e5546a62-cc74-4170-8055-d680bb142a65" providerId="ADAL" clId="{DD906B15-4A3E-43DE-83FD-2DF460801808}" dt="2023-08-28T08:19:52.452" v="753" actId="108"/>
          <ac:spMkLst>
            <pc:docMk/>
            <pc:sldMk cId="575587304" sldId="2147470369"/>
            <ac:spMk id="46" creationId="{653C81E6-959C-CEE2-C463-56AA739DA89B}"/>
          </ac:spMkLst>
        </pc:spChg>
      </pc:sldChg>
      <pc:sldChg chg="add ord">
        <pc:chgData name="Thankappan, Dilip" userId="e5546a62-cc74-4170-8055-d680bb142a65" providerId="ADAL" clId="{DD906B15-4A3E-43DE-83FD-2DF460801808}" dt="2024-02-02T12:34:14.470" v="853"/>
        <pc:sldMkLst>
          <pc:docMk/>
          <pc:sldMk cId="2836068421" sldId="2147470370"/>
        </pc:sldMkLst>
      </pc:sldChg>
      <pc:sldChg chg="add ord replId">
        <pc:chgData name="Thankappan, Dilip" userId="e5546a62-cc74-4170-8055-d680bb142a65" providerId="ADAL" clId="{DD906B15-4A3E-43DE-83FD-2DF460801808}" dt="2024-02-02T12:34:14.470" v="853"/>
        <pc:sldMkLst>
          <pc:docMk/>
          <pc:sldMk cId="459855009" sldId="2147470371"/>
        </pc:sldMkLst>
      </pc:sldChg>
    </pc:docChg>
  </pc:docChgLst>
  <pc:docChgLst>
    <pc:chgData name="Thankappan, Dilip" userId="e5546a62-cc74-4170-8055-d680bb142a65" providerId="ADAL" clId="{8E6ED680-D11F-4E58-A34F-51530229C531}"/>
    <pc:docChg chg="undo custSel addSld delSld modSld">
      <pc:chgData name="Thankappan, Dilip" userId="e5546a62-cc74-4170-8055-d680bb142a65" providerId="ADAL" clId="{8E6ED680-D11F-4E58-A34F-51530229C531}" dt="2024-02-23T02:47:58.987" v="774" actId="113"/>
      <pc:docMkLst>
        <pc:docMk/>
      </pc:docMkLst>
      <pc:sldChg chg="del">
        <pc:chgData name="Thankappan, Dilip" userId="e5546a62-cc74-4170-8055-d680bb142a65" providerId="ADAL" clId="{8E6ED680-D11F-4E58-A34F-51530229C531}" dt="2024-02-23T00:00:14.172" v="259" actId="47"/>
        <pc:sldMkLst>
          <pc:docMk/>
          <pc:sldMk cId="487208584" sldId="1321721637"/>
        </pc:sldMkLst>
      </pc:sldChg>
      <pc:sldChg chg="modSp mod">
        <pc:chgData name="Thankappan, Dilip" userId="e5546a62-cc74-4170-8055-d680bb142a65" providerId="ADAL" clId="{8E6ED680-D11F-4E58-A34F-51530229C531}" dt="2024-02-23T02:41:52.431" v="717" actId="14100"/>
        <pc:sldMkLst>
          <pc:docMk/>
          <pc:sldMk cId="3448401132" sldId="2145706709"/>
        </pc:sldMkLst>
        <pc:spChg chg="mod">
          <ac:chgData name="Thankappan, Dilip" userId="e5546a62-cc74-4170-8055-d680bb142a65" providerId="ADAL" clId="{8E6ED680-D11F-4E58-A34F-51530229C531}" dt="2024-02-23T02:41:52.431" v="717" actId="14100"/>
          <ac:spMkLst>
            <pc:docMk/>
            <pc:sldMk cId="3448401132" sldId="2145706709"/>
            <ac:spMk id="7" creationId="{F47D54A4-C657-2E4C-48D2-E7F2D47A3186}"/>
          </ac:spMkLst>
        </pc:spChg>
        <pc:spChg chg="mod">
          <ac:chgData name="Thankappan, Dilip" userId="e5546a62-cc74-4170-8055-d680bb142a65" providerId="ADAL" clId="{8E6ED680-D11F-4E58-A34F-51530229C531}" dt="2024-02-22T18:11:08.614" v="77" actId="20577"/>
          <ac:spMkLst>
            <pc:docMk/>
            <pc:sldMk cId="3448401132" sldId="2145706709"/>
            <ac:spMk id="8" creationId="{868CC9E0-899B-3209-F0BA-1710FF4AB92B}"/>
          </ac:spMkLst>
        </pc:spChg>
      </pc:sldChg>
      <pc:sldChg chg="addSp delSp modSp del mod">
        <pc:chgData name="Thankappan, Dilip" userId="e5546a62-cc74-4170-8055-d680bb142a65" providerId="ADAL" clId="{8E6ED680-D11F-4E58-A34F-51530229C531}" dt="2024-02-23T00:00:07.994" v="257" actId="47"/>
        <pc:sldMkLst>
          <pc:docMk/>
          <pc:sldMk cId="816208619" sldId="2147470367"/>
        </pc:sldMkLst>
        <pc:spChg chg="add del mod">
          <ac:chgData name="Thankappan, Dilip" userId="e5546a62-cc74-4170-8055-d680bb142a65" providerId="ADAL" clId="{8E6ED680-D11F-4E58-A34F-51530229C531}" dt="2024-02-22T18:38:05.050" v="82" actId="478"/>
          <ac:spMkLst>
            <pc:docMk/>
            <pc:sldMk cId="816208619" sldId="2147470367"/>
            <ac:spMk id="12" creationId="{F4C41648-3A0E-F060-6675-6FE88EC11DA7}"/>
          </ac:spMkLst>
        </pc:spChg>
        <pc:spChg chg="add del mod">
          <ac:chgData name="Thankappan, Dilip" userId="e5546a62-cc74-4170-8055-d680bb142a65" providerId="ADAL" clId="{8E6ED680-D11F-4E58-A34F-51530229C531}" dt="2024-02-22T18:37:59.353" v="81" actId="478"/>
          <ac:spMkLst>
            <pc:docMk/>
            <pc:sldMk cId="816208619" sldId="2147470367"/>
            <ac:spMk id="15" creationId="{FF324691-5880-8425-F8E3-9A0EDBDC72FA}"/>
          </ac:spMkLst>
        </pc:spChg>
        <pc:spChg chg="add del mod">
          <ac:chgData name="Thankappan, Dilip" userId="e5546a62-cc74-4170-8055-d680bb142a65" providerId="ADAL" clId="{8E6ED680-D11F-4E58-A34F-51530229C531}" dt="2024-02-22T18:39:13.274" v="85" actId="478"/>
          <ac:spMkLst>
            <pc:docMk/>
            <pc:sldMk cId="816208619" sldId="2147470367"/>
            <ac:spMk id="18" creationId="{9FF44B7E-E55D-2C65-90E8-409F438F1BA7}"/>
          </ac:spMkLst>
        </pc:spChg>
        <pc:spChg chg="add del mod">
          <ac:chgData name="Thankappan, Dilip" userId="e5546a62-cc74-4170-8055-d680bb142a65" providerId="ADAL" clId="{8E6ED680-D11F-4E58-A34F-51530229C531}" dt="2024-02-22T19:33:09.597" v="227" actId="478"/>
          <ac:spMkLst>
            <pc:docMk/>
            <pc:sldMk cId="816208619" sldId="2147470367"/>
            <ac:spMk id="22" creationId="{68168A17-425C-5B1C-101F-FFB6AA38FD80}"/>
          </ac:spMkLst>
        </pc:spChg>
        <pc:graphicFrameChg chg="add mod modGraphic">
          <ac:chgData name="Thankappan, Dilip" userId="e5546a62-cc74-4170-8055-d680bb142a65" providerId="ADAL" clId="{8E6ED680-D11F-4E58-A34F-51530229C531}" dt="2024-02-22T19:57:40.299" v="232" actId="14100"/>
          <ac:graphicFrameMkLst>
            <pc:docMk/>
            <pc:sldMk cId="816208619" sldId="2147470367"/>
            <ac:graphicFrameMk id="19" creationId="{487F4584-9159-F3A7-4DE6-1F307093D117}"/>
          </ac:graphicFrameMkLst>
        </pc:graphicFrameChg>
        <pc:picChg chg="add del mod">
          <ac:chgData name="Thankappan, Dilip" userId="e5546a62-cc74-4170-8055-d680bb142a65" providerId="ADAL" clId="{8E6ED680-D11F-4E58-A34F-51530229C531}" dt="2024-02-22T18:38:05.050" v="82" actId="478"/>
          <ac:picMkLst>
            <pc:docMk/>
            <pc:sldMk cId="816208619" sldId="2147470367"/>
            <ac:picMk id="11" creationId="{8D918BF0-565C-B08F-2263-B05821A0AD75}"/>
          </ac:picMkLst>
        </pc:picChg>
        <pc:picChg chg="add del mod">
          <ac:chgData name="Thankappan, Dilip" userId="e5546a62-cc74-4170-8055-d680bb142a65" providerId="ADAL" clId="{8E6ED680-D11F-4E58-A34F-51530229C531}" dt="2024-02-22T18:37:59.353" v="81" actId="478"/>
          <ac:picMkLst>
            <pc:docMk/>
            <pc:sldMk cId="816208619" sldId="2147470367"/>
            <ac:picMk id="14" creationId="{C202C103-0749-BE2E-4B58-CB042E633B20}"/>
          </ac:picMkLst>
        </pc:picChg>
        <pc:picChg chg="add del mod">
          <ac:chgData name="Thankappan, Dilip" userId="e5546a62-cc74-4170-8055-d680bb142a65" providerId="ADAL" clId="{8E6ED680-D11F-4E58-A34F-51530229C531}" dt="2024-02-22T18:49:10.420" v="86" actId="478"/>
          <ac:picMkLst>
            <pc:docMk/>
            <pc:sldMk cId="816208619" sldId="2147470367"/>
            <ac:picMk id="17" creationId="{7F8AB757-7B68-3231-5E65-D5F62BB6F64A}"/>
          </ac:picMkLst>
        </pc:picChg>
        <pc:picChg chg="add mod">
          <ac:chgData name="Thankappan, Dilip" userId="e5546a62-cc74-4170-8055-d680bb142a65" providerId="ADAL" clId="{8E6ED680-D11F-4E58-A34F-51530229C531}" dt="2024-02-22T19:33:25.142" v="228" actId="14100"/>
          <ac:picMkLst>
            <pc:docMk/>
            <pc:sldMk cId="816208619" sldId="2147470367"/>
            <ac:picMk id="21" creationId="{888C064D-E7DC-EA8D-A0BE-A1E26F5B6464}"/>
          </ac:picMkLst>
        </pc:picChg>
      </pc:sldChg>
      <pc:sldChg chg="del">
        <pc:chgData name="Thankappan, Dilip" userId="e5546a62-cc74-4170-8055-d680bb142a65" providerId="ADAL" clId="{8E6ED680-D11F-4E58-A34F-51530229C531}" dt="2024-02-23T00:00:12.525" v="258" actId="47"/>
        <pc:sldMkLst>
          <pc:docMk/>
          <pc:sldMk cId="76726104" sldId="2147470368"/>
        </pc:sldMkLst>
      </pc:sldChg>
      <pc:sldChg chg="addSp delSp modSp mod">
        <pc:chgData name="Thankappan, Dilip" userId="e5546a62-cc74-4170-8055-d680bb142a65" providerId="ADAL" clId="{8E6ED680-D11F-4E58-A34F-51530229C531}" dt="2024-02-23T02:47:58.987" v="774" actId="113"/>
        <pc:sldMkLst>
          <pc:docMk/>
          <pc:sldMk cId="575587304" sldId="2147470369"/>
        </pc:sldMkLst>
        <pc:spChg chg="mod">
          <ac:chgData name="Thankappan, Dilip" userId="e5546a62-cc74-4170-8055-d680bb142a65" providerId="ADAL" clId="{8E6ED680-D11F-4E58-A34F-51530229C531}" dt="2024-02-23T00:00:46.745" v="287" actId="20577"/>
          <ac:spMkLst>
            <pc:docMk/>
            <pc:sldMk cId="575587304" sldId="2147470369"/>
            <ac:spMk id="2" creationId="{8C419BE4-CF3A-F5B7-3FBB-CD283329E2FB}"/>
          </ac:spMkLst>
        </pc:spChg>
        <pc:spChg chg="add mod">
          <ac:chgData name="Thankappan, Dilip" userId="e5546a62-cc74-4170-8055-d680bb142a65" providerId="ADAL" clId="{8E6ED680-D11F-4E58-A34F-51530229C531}" dt="2024-02-23T02:47:58.987" v="774" actId="113"/>
          <ac:spMkLst>
            <pc:docMk/>
            <pc:sldMk cId="575587304" sldId="2147470369"/>
            <ac:spMk id="5" creationId="{3F0C3D73-E4F1-3DE6-E76A-7925E54067A9}"/>
          </ac:spMkLst>
        </pc:spChg>
        <pc:spChg chg="del">
          <ac:chgData name="Thankappan, Dilip" userId="e5546a62-cc74-4170-8055-d680bb142a65" providerId="ADAL" clId="{8E6ED680-D11F-4E58-A34F-51530229C531}" dt="2024-02-22T20:01:32.030" v="234" actId="478"/>
          <ac:spMkLst>
            <pc:docMk/>
            <pc:sldMk cId="575587304" sldId="2147470369"/>
            <ac:spMk id="49" creationId="{6CA0D64A-305F-AA42-9492-754C204FB0F4}"/>
          </ac:spMkLst>
        </pc:spChg>
        <pc:picChg chg="add del mod">
          <ac:chgData name="Thankappan, Dilip" userId="e5546a62-cc74-4170-8055-d680bb142a65" providerId="ADAL" clId="{8E6ED680-D11F-4E58-A34F-51530229C531}" dt="2024-02-23T02:31:58.934" v="295" actId="478"/>
          <ac:picMkLst>
            <pc:docMk/>
            <pc:sldMk cId="575587304" sldId="2147470369"/>
            <ac:picMk id="4" creationId="{4A639322-256D-268E-55E7-929968C1A9BF}"/>
          </ac:picMkLst>
        </pc:picChg>
        <pc:picChg chg="del">
          <ac:chgData name="Thankappan, Dilip" userId="e5546a62-cc74-4170-8055-d680bb142a65" providerId="ADAL" clId="{8E6ED680-D11F-4E58-A34F-51530229C531}" dt="2024-02-22T20:01:30.737" v="233" actId="478"/>
          <ac:picMkLst>
            <pc:docMk/>
            <pc:sldMk cId="575587304" sldId="2147470369"/>
            <ac:picMk id="48" creationId="{40AD941F-D70E-E8B3-F3CE-E5C81D265B17}"/>
          </ac:picMkLst>
        </pc:picChg>
      </pc:sldChg>
      <pc:sldChg chg="addSp delSp modSp add mod">
        <pc:chgData name="Thankappan, Dilip" userId="e5546a62-cc74-4170-8055-d680bb142a65" providerId="ADAL" clId="{8E6ED680-D11F-4E58-A34F-51530229C531}" dt="2024-02-23T02:47:07.076" v="771" actId="20577"/>
        <pc:sldMkLst>
          <pc:docMk/>
          <pc:sldMk cId="3699829496" sldId="2147470370"/>
        </pc:sldMkLst>
        <pc:spChg chg="mod">
          <ac:chgData name="Thankappan, Dilip" userId="e5546a62-cc74-4170-8055-d680bb142a65" providerId="ADAL" clId="{8E6ED680-D11F-4E58-A34F-51530229C531}" dt="2024-02-23T00:49:19.739" v="293" actId="20577"/>
          <ac:spMkLst>
            <pc:docMk/>
            <pc:sldMk cId="3699829496" sldId="2147470370"/>
            <ac:spMk id="2" creationId="{8C419BE4-CF3A-F5B7-3FBB-CD283329E2FB}"/>
          </ac:spMkLst>
        </pc:spChg>
        <pc:spChg chg="add mod">
          <ac:chgData name="Thankappan, Dilip" userId="e5546a62-cc74-4170-8055-d680bb142a65" providerId="ADAL" clId="{8E6ED680-D11F-4E58-A34F-51530229C531}" dt="2024-02-23T02:41:34.622" v="710" actId="1076"/>
          <ac:spMkLst>
            <pc:docMk/>
            <pc:sldMk cId="3699829496" sldId="2147470370"/>
            <ac:spMk id="11" creationId="{A74ACBCB-530D-D6BC-CABF-4DE9F09D024C}"/>
          </ac:spMkLst>
        </pc:spChg>
        <pc:spChg chg="add mod">
          <ac:chgData name="Thankappan, Dilip" userId="e5546a62-cc74-4170-8055-d680bb142a65" providerId="ADAL" clId="{8E6ED680-D11F-4E58-A34F-51530229C531}" dt="2024-02-23T02:47:07.076" v="771" actId="20577"/>
          <ac:spMkLst>
            <pc:docMk/>
            <pc:sldMk cId="3699829496" sldId="2147470370"/>
            <ac:spMk id="12" creationId="{BB785512-8F16-D367-97E0-BC9E26F5CC02}"/>
          </ac:spMkLst>
        </pc:spChg>
        <pc:picChg chg="del">
          <ac:chgData name="Thankappan, Dilip" userId="e5546a62-cc74-4170-8055-d680bb142a65" providerId="ADAL" clId="{8E6ED680-D11F-4E58-A34F-51530229C531}" dt="2024-02-22T20:03:43.827" v="244" actId="478"/>
          <ac:picMkLst>
            <pc:docMk/>
            <pc:sldMk cId="3699829496" sldId="2147470370"/>
            <ac:picMk id="4" creationId="{4A639322-256D-268E-55E7-929968C1A9BF}"/>
          </ac:picMkLst>
        </pc:picChg>
        <pc:picChg chg="add del mod">
          <ac:chgData name="Thankappan, Dilip" userId="e5546a62-cc74-4170-8055-d680bb142a65" providerId="ADAL" clId="{8E6ED680-D11F-4E58-A34F-51530229C531}" dt="2024-02-22T20:03:41.346" v="243" actId="21"/>
          <ac:picMkLst>
            <pc:docMk/>
            <pc:sldMk cId="3699829496" sldId="2147470370"/>
            <ac:picMk id="5" creationId="{CF674E2E-EB65-669C-5DA5-91CA96B60135}"/>
          </ac:picMkLst>
        </pc:picChg>
        <pc:picChg chg="add del mod">
          <ac:chgData name="Thankappan, Dilip" userId="e5546a62-cc74-4170-8055-d680bb142a65" providerId="ADAL" clId="{8E6ED680-D11F-4E58-A34F-51530229C531}" dt="2024-02-22T20:04:10.622" v="246" actId="478"/>
          <ac:picMkLst>
            <pc:docMk/>
            <pc:sldMk cId="3699829496" sldId="2147470370"/>
            <ac:picMk id="6" creationId="{3414D9FD-4C47-96A9-C84D-D8FCB8189063}"/>
          </ac:picMkLst>
        </pc:picChg>
        <pc:picChg chg="add del mod">
          <ac:chgData name="Thankappan, Dilip" userId="e5546a62-cc74-4170-8055-d680bb142a65" providerId="ADAL" clId="{8E6ED680-D11F-4E58-A34F-51530229C531}" dt="2024-02-22T23:54:43.662" v="253" actId="478"/>
          <ac:picMkLst>
            <pc:docMk/>
            <pc:sldMk cId="3699829496" sldId="2147470370"/>
            <ac:picMk id="8" creationId="{273C2185-4914-005B-32A4-172FE636139E}"/>
          </ac:picMkLst>
        </pc:picChg>
        <pc:picChg chg="add mod">
          <ac:chgData name="Thankappan, Dilip" userId="e5546a62-cc74-4170-8055-d680bb142a65" providerId="ADAL" clId="{8E6ED680-D11F-4E58-A34F-51530229C531}" dt="2024-02-23T02:32:33.046" v="296" actId="1076"/>
          <ac:picMkLst>
            <pc:docMk/>
            <pc:sldMk cId="3699829496" sldId="2147470370"/>
            <ac:picMk id="10" creationId="{8FEDE9DF-B7A4-E365-EDBE-0230F0F33E1D}"/>
          </ac:picMkLst>
        </pc:picChg>
      </pc:sldChg>
      <pc:sldMasterChg chg="delSldLayout">
        <pc:chgData name="Thankappan, Dilip" userId="e5546a62-cc74-4170-8055-d680bb142a65" providerId="ADAL" clId="{8E6ED680-D11F-4E58-A34F-51530229C531}" dt="2024-02-23T00:00:14.172" v="259" actId="47"/>
        <pc:sldMasterMkLst>
          <pc:docMk/>
          <pc:sldMasterMk cId="4217932306" sldId="2147484048"/>
        </pc:sldMasterMkLst>
        <pc:sldLayoutChg chg="del">
          <pc:chgData name="Thankappan, Dilip" userId="e5546a62-cc74-4170-8055-d680bb142a65" providerId="ADAL" clId="{8E6ED680-D11F-4E58-A34F-51530229C531}" dt="2024-02-23T00:00:14.172" v="259" actId="47"/>
          <pc:sldLayoutMkLst>
            <pc:docMk/>
            <pc:sldMasterMk cId="4217932306" sldId="2147484048"/>
            <pc:sldLayoutMk cId="53165478" sldId="2147484054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9/02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9/02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9928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nvironment</a:t>
            </a:r>
            <a:r>
              <a:rPr lang="en-IN" sz="1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 to develop this APP as POC - </a:t>
            </a: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(</a:t>
            </a:r>
            <a:r>
              <a:rPr lang="en-IN" sz="18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PAC_POCFARework_DEV</a:t>
            </a: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)</a:t>
            </a:r>
            <a:endParaRPr lang="en-IN" sz="1800" b="0" i="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on-premise</a:t>
            </a:r>
            <a:r>
              <a:rPr lang="en-IN" sz="1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 data gateway </a:t>
            </a: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(SA-</a:t>
            </a:r>
            <a:r>
              <a:rPr lang="en-IN" sz="18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PACFARework_DGW</a:t>
            </a: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)</a:t>
            </a:r>
            <a:endParaRPr lang="en-IN" sz="1800" b="0" i="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N" sz="18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Serice</a:t>
            </a: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Account ((SA-</a:t>
            </a:r>
            <a:r>
              <a:rPr lang="en-IN" sz="1800" b="1" i="0" dirty="0" err="1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PACFARework</a:t>
            </a: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)) </a:t>
            </a:r>
            <a:r>
              <a:rPr lang="en-IN" sz="1800" b="0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to be used in </a:t>
            </a:r>
            <a:r>
              <a:rPr lang="en-IN" sz="1800" b="1" i="0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on-premise Data gateway</a:t>
            </a:r>
            <a:endParaRPr lang="en-IN" sz="1800" b="0" i="0" dirty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71843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6043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hanel Resort Collection 2024 Premieres in L.A. at Paramount Studios – The  Hollywood Reporter">
            <a:extLst>
              <a:ext uri="{FF2B5EF4-FFF2-40B4-BE49-F238E27FC236}">
                <a16:creationId xmlns:a16="http://schemas.microsoft.com/office/drawing/2014/main" id="{1C8A79DE-E4A6-C37A-E969-DED078D790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0FBD3D4-59BC-84C4-02EF-C81E7DA93EDA}"/>
              </a:ext>
            </a:extLst>
          </p:cNvPr>
          <p:cNvSpPr/>
          <p:nvPr/>
        </p:nvSpPr>
        <p:spPr>
          <a:xfrm rot="16200000">
            <a:off x="4137456" y="-1196547"/>
            <a:ext cx="3917092" cy="12192002"/>
          </a:xfrm>
          <a:prstGeom prst="rect">
            <a:avLst/>
          </a:prstGeom>
          <a:gradFill flip="none" rotWithShape="1">
            <a:gsLst>
              <a:gs pos="100000">
                <a:srgbClr val="121212">
                  <a:alpha val="0"/>
                </a:srgbClr>
              </a:gs>
              <a:gs pos="0">
                <a:srgbClr val="121212">
                  <a:alpha val="0"/>
                </a:srgbClr>
              </a:gs>
              <a:gs pos="64000">
                <a:srgbClr val="121212">
                  <a:alpha val="48000"/>
                </a:srgbClr>
              </a:gs>
              <a:gs pos="34000">
                <a:srgbClr val="121212">
                  <a:alpha val="48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4477441-7271-9C24-9EB6-CADE7FE26E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0125" y="5916058"/>
            <a:ext cx="486351" cy="561859"/>
          </a:xfrm>
          <a:prstGeom prst="rect">
            <a:avLst/>
          </a:prstGeom>
        </p:spPr>
      </p:pic>
      <p:grpSp>
        <p:nvGrpSpPr>
          <p:cNvPr id="8" name="Groupe 7">
            <a:extLst>
              <a:ext uri="{FF2B5EF4-FFF2-40B4-BE49-F238E27FC236}">
                <a16:creationId xmlns:a16="http://schemas.microsoft.com/office/drawing/2014/main" id="{AAE77412-586C-C012-9D50-B1C28E453727}"/>
              </a:ext>
            </a:extLst>
          </p:cNvPr>
          <p:cNvGrpSpPr/>
          <p:nvPr userDrawn="1"/>
        </p:nvGrpSpPr>
        <p:grpSpPr>
          <a:xfrm>
            <a:off x="418978" y="405843"/>
            <a:ext cx="4255705" cy="504454"/>
            <a:chOff x="418978" y="405843"/>
            <a:chExt cx="4255705" cy="504454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DD185ADB-8AAC-089B-2A3C-5C20AF4E64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8978" y="470535"/>
              <a:ext cx="1971683" cy="439762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85184B7-7D51-C4CD-2F9A-521BE906FE2E}"/>
                </a:ext>
              </a:extLst>
            </p:cNvPr>
            <p:cNvCxnSpPr>
              <a:cxnSpLocks/>
            </p:cNvCxnSpPr>
            <p:nvPr/>
          </p:nvCxnSpPr>
          <p:spPr>
            <a:xfrm>
              <a:off x="2496339" y="405843"/>
              <a:ext cx="0" cy="47082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5AA869A5-DDAD-C881-9898-04FE931D8E3B}"/>
                </a:ext>
              </a:extLst>
            </p:cNvPr>
            <p:cNvSpPr txBox="1"/>
            <p:nvPr userDrawn="1"/>
          </p:nvSpPr>
          <p:spPr>
            <a:xfrm>
              <a:off x="2496339" y="410424"/>
              <a:ext cx="217834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EL</a:t>
              </a:r>
              <a:endParaRPr lang="en-GB" sz="2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9" name="Image 8">
            <a:extLst>
              <a:ext uri="{FF2B5EF4-FFF2-40B4-BE49-F238E27FC236}">
                <a16:creationId xmlns:a16="http://schemas.microsoft.com/office/drawing/2014/main" id="{974D9F92-53DB-8DDC-B0EC-841167C0DB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934254">
            <a:off x="779680" y="2332568"/>
            <a:ext cx="9258995" cy="3925956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04813" y="2745272"/>
            <a:ext cx="11386134" cy="1625060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80000"/>
              </a:lnSpc>
              <a:defRPr sz="6600" b="1" baseline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9033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96D1AE-BB05-402A-8454-CE893B604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1327151"/>
            <a:ext cx="56007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0070AD"/>
                </a:solidFill>
                <a:latin typeface="+mn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2205318"/>
            <a:ext cx="5600701" cy="4257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1327151"/>
            <a:ext cx="55880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0070AD"/>
                </a:solidFill>
                <a:latin typeface="+mn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2205318"/>
            <a:ext cx="5594351" cy="42573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2911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43866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336B7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779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21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0019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8244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64961"/>
            <a:ext cx="11329987" cy="1477328"/>
          </a:xfrm>
        </p:spPr>
        <p:txBody>
          <a:bodyPr lIns="0" bIns="0" anchor="b" anchorCtr="0">
            <a:spAutoFit/>
          </a:bodyPr>
          <a:lstStyle>
            <a:lvl1pPr algn="l">
              <a:lnSpc>
                <a:spcPct val="8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3772800"/>
            <a:ext cx="11329987" cy="307777"/>
          </a:xfrm>
        </p:spPr>
        <p:txBody>
          <a:bodyPr lIns="0" t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44C52A-2030-4EFF-B1D2-B60B2B279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813" y="1825079"/>
            <a:ext cx="4611067" cy="307777"/>
          </a:xfrm>
        </p:spPr>
        <p:txBody>
          <a:bodyPr wrap="square" anchor="b">
            <a:spAutoFit/>
          </a:bodyPr>
          <a:lstStyle>
            <a:lvl1pPr>
              <a:defRPr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88900" indent="0">
              <a:buNone/>
              <a:defRPr/>
            </a:lvl2pPr>
          </a:lstStyle>
          <a:p>
            <a:pPr lvl="0"/>
            <a:r>
              <a:rPr lang="fr-FR"/>
              <a:t>INSERT A LABEL/ALBEIT</a:t>
            </a:r>
          </a:p>
        </p:txBody>
      </p:sp>
    </p:spTree>
    <p:extLst>
      <p:ext uri="{BB962C8B-B14F-4D97-AF65-F5344CB8AC3E}">
        <p14:creationId xmlns:p14="http://schemas.microsoft.com/office/powerpoint/2010/main" val="4153188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hit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EB2D5A7-8ABD-41FC-934A-8D0E9E07B9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904137 w 12192000"/>
              <a:gd name="connsiteY0" fmla="*/ 374761 h 6858000"/>
              <a:gd name="connsiteX1" fmla="*/ 11851113 w 12192000"/>
              <a:gd name="connsiteY1" fmla="*/ 409256 h 6858000"/>
              <a:gd name="connsiteX2" fmla="*/ 11813853 w 12192000"/>
              <a:gd name="connsiteY2" fmla="*/ 476806 h 6858000"/>
              <a:gd name="connsiteX3" fmla="*/ 11772294 w 12192000"/>
              <a:gd name="connsiteY3" fmla="*/ 537171 h 6858000"/>
              <a:gd name="connsiteX4" fmla="*/ 11703507 w 12192000"/>
              <a:gd name="connsiteY4" fmla="*/ 580289 h 6858000"/>
              <a:gd name="connsiteX5" fmla="*/ 11747932 w 12192000"/>
              <a:gd name="connsiteY5" fmla="*/ 591787 h 6858000"/>
              <a:gd name="connsiteX6" fmla="*/ 11796656 w 12192000"/>
              <a:gd name="connsiteY6" fmla="*/ 587475 h 6858000"/>
              <a:gd name="connsiteX7" fmla="*/ 11879774 w 12192000"/>
              <a:gd name="connsiteY7" fmla="*/ 551544 h 6858000"/>
              <a:gd name="connsiteX8" fmla="*/ 11816719 w 12192000"/>
              <a:gd name="connsiteY8" fmla="*/ 494054 h 6858000"/>
              <a:gd name="connsiteX9" fmla="*/ 11904137 w 12192000"/>
              <a:gd name="connsiteY9" fmla="*/ 521361 h 6858000"/>
              <a:gd name="connsiteX10" fmla="*/ 11965759 w 12192000"/>
              <a:gd name="connsiteY10" fmla="*/ 460997 h 6858000"/>
              <a:gd name="connsiteX11" fmla="*/ 11964326 w 12192000"/>
              <a:gd name="connsiteY11" fmla="*/ 404944 h 6858000"/>
              <a:gd name="connsiteX12" fmla="*/ 11904137 w 12192000"/>
              <a:gd name="connsiteY12" fmla="*/ 374761 h 6858000"/>
              <a:gd name="connsiteX13" fmla="*/ 11779497 w 12192000"/>
              <a:gd name="connsiteY13" fmla="*/ 210928 h 6858000"/>
              <a:gd name="connsiteX14" fmla="*/ 11559747 w 12192000"/>
              <a:gd name="connsiteY14" fmla="*/ 439472 h 6858000"/>
              <a:gd name="connsiteX15" fmla="*/ 11635870 w 12192000"/>
              <a:gd name="connsiteY15" fmla="*/ 550150 h 6858000"/>
              <a:gd name="connsiteX16" fmla="*/ 11720610 w 12192000"/>
              <a:gd name="connsiteY16" fmla="*/ 545838 h 6858000"/>
              <a:gd name="connsiteX17" fmla="*/ 11780933 w 12192000"/>
              <a:gd name="connsiteY17" fmla="*/ 489780 h 6858000"/>
              <a:gd name="connsiteX18" fmla="*/ 11826894 w 12192000"/>
              <a:gd name="connsiteY18" fmla="*/ 413599 h 6858000"/>
              <a:gd name="connsiteX19" fmla="*/ 11888654 w 12192000"/>
              <a:gd name="connsiteY19" fmla="*/ 361853 h 6858000"/>
              <a:gd name="connsiteX20" fmla="*/ 11963340 w 12192000"/>
              <a:gd name="connsiteY20" fmla="*/ 380539 h 6858000"/>
              <a:gd name="connsiteX21" fmla="*/ 11900144 w 12192000"/>
              <a:gd name="connsiteY21" fmla="*/ 284235 h 6858000"/>
              <a:gd name="connsiteX22" fmla="*/ 11789551 w 12192000"/>
              <a:gd name="connsiteY22" fmla="*/ 215240 h 6858000"/>
              <a:gd name="connsiteX23" fmla="*/ 11779497 w 12192000"/>
              <a:gd name="connsiteY23" fmla="*/ 210928 h 6858000"/>
              <a:gd name="connsiteX24" fmla="*/ 0 w 12192000"/>
              <a:gd name="connsiteY24" fmla="*/ 0 h 6858000"/>
              <a:gd name="connsiteX25" fmla="*/ 12192000 w 12192000"/>
              <a:gd name="connsiteY25" fmla="*/ 0 h 6858000"/>
              <a:gd name="connsiteX26" fmla="*/ 12192000 w 12192000"/>
              <a:gd name="connsiteY26" fmla="*/ 6858000 h 6858000"/>
              <a:gd name="connsiteX27" fmla="*/ 0 w 12192000"/>
              <a:gd name="connsiteY2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11904137" y="374761"/>
                </a:moveTo>
                <a:cubicBezTo>
                  <a:pt x="11881208" y="376199"/>
                  <a:pt x="11864011" y="390571"/>
                  <a:pt x="11851113" y="409256"/>
                </a:cubicBezTo>
                <a:cubicBezTo>
                  <a:pt x="11835349" y="429377"/>
                  <a:pt x="11825318" y="453810"/>
                  <a:pt x="11813853" y="476806"/>
                </a:cubicBezTo>
                <a:cubicBezTo>
                  <a:pt x="11802389" y="498365"/>
                  <a:pt x="11789491" y="518487"/>
                  <a:pt x="11772294" y="537171"/>
                </a:cubicBezTo>
                <a:cubicBezTo>
                  <a:pt x="11753664" y="557293"/>
                  <a:pt x="11730735" y="573103"/>
                  <a:pt x="11703507" y="580289"/>
                </a:cubicBezTo>
                <a:cubicBezTo>
                  <a:pt x="11716405" y="588912"/>
                  <a:pt x="11733601" y="591787"/>
                  <a:pt x="11747932" y="591787"/>
                </a:cubicBezTo>
                <a:cubicBezTo>
                  <a:pt x="11763696" y="593224"/>
                  <a:pt x="11780893" y="590350"/>
                  <a:pt x="11796656" y="587475"/>
                </a:cubicBezTo>
                <a:cubicBezTo>
                  <a:pt x="11826751" y="583163"/>
                  <a:pt x="11858278" y="573103"/>
                  <a:pt x="11879774" y="551544"/>
                </a:cubicBezTo>
                <a:cubicBezTo>
                  <a:pt x="11845381" y="551544"/>
                  <a:pt x="11818153" y="528548"/>
                  <a:pt x="11816719" y="494054"/>
                </a:cubicBezTo>
                <a:cubicBezTo>
                  <a:pt x="11838216" y="519924"/>
                  <a:pt x="11871176" y="529985"/>
                  <a:pt x="11904137" y="521361"/>
                </a:cubicBezTo>
                <a:cubicBezTo>
                  <a:pt x="11932798" y="512738"/>
                  <a:pt x="11957160" y="489742"/>
                  <a:pt x="11965759" y="460997"/>
                </a:cubicBezTo>
                <a:cubicBezTo>
                  <a:pt x="11971491" y="442312"/>
                  <a:pt x="11972924" y="423628"/>
                  <a:pt x="11964326" y="404944"/>
                </a:cubicBezTo>
                <a:cubicBezTo>
                  <a:pt x="11952861" y="383385"/>
                  <a:pt x="11928499" y="373324"/>
                  <a:pt x="11904137" y="374761"/>
                </a:cubicBezTo>
                <a:close/>
                <a:moveTo>
                  <a:pt x="11779497" y="210928"/>
                </a:moveTo>
                <a:cubicBezTo>
                  <a:pt x="11730664" y="271298"/>
                  <a:pt x="11559747" y="314420"/>
                  <a:pt x="11559747" y="439472"/>
                </a:cubicBezTo>
                <a:cubicBezTo>
                  <a:pt x="11559747" y="486906"/>
                  <a:pt x="11589909" y="532902"/>
                  <a:pt x="11635870" y="550150"/>
                </a:cubicBezTo>
                <a:cubicBezTo>
                  <a:pt x="11663159" y="560212"/>
                  <a:pt x="11693320" y="558775"/>
                  <a:pt x="11720610" y="545838"/>
                </a:cubicBezTo>
                <a:cubicBezTo>
                  <a:pt x="11746463" y="534339"/>
                  <a:pt x="11765134" y="514216"/>
                  <a:pt x="11780933" y="489780"/>
                </a:cubicBezTo>
                <a:cubicBezTo>
                  <a:pt x="11798168" y="465345"/>
                  <a:pt x="11811095" y="439472"/>
                  <a:pt x="11826894" y="413599"/>
                </a:cubicBezTo>
                <a:cubicBezTo>
                  <a:pt x="11841257" y="390601"/>
                  <a:pt x="11861365" y="367603"/>
                  <a:pt x="11888654" y="361853"/>
                </a:cubicBezTo>
                <a:cubicBezTo>
                  <a:pt x="11914507" y="354666"/>
                  <a:pt x="11944668" y="361853"/>
                  <a:pt x="11963340" y="380539"/>
                </a:cubicBezTo>
                <a:cubicBezTo>
                  <a:pt x="11951850" y="343167"/>
                  <a:pt x="11930306" y="311545"/>
                  <a:pt x="11900144" y="284235"/>
                </a:cubicBezTo>
                <a:cubicBezTo>
                  <a:pt x="11867110" y="254050"/>
                  <a:pt x="11829767" y="232489"/>
                  <a:pt x="11789551" y="215240"/>
                </a:cubicBezTo>
                <a:cubicBezTo>
                  <a:pt x="11786678" y="213803"/>
                  <a:pt x="11782369" y="212365"/>
                  <a:pt x="11779497" y="21092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</p:spTree>
    <p:extLst>
      <p:ext uri="{BB962C8B-B14F-4D97-AF65-F5344CB8AC3E}">
        <p14:creationId xmlns:p14="http://schemas.microsoft.com/office/powerpoint/2010/main" val="29147484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blu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B335D29-1EFC-4491-AD11-74BC952F53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85528 w 12192000"/>
              <a:gd name="connsiteY0" fmla="*/ 202927 h 6858000"/>
              <a:gd name="connsiteX1" fmla="*/ 11561144 w 12192000"/>
              <a:gd name="connsiteY1" fmla="*/ 434840 h 6858000"/>
              <a:gd name="connsiteX2" fmla="*/ 11638872 w 12192000"/>
              <a:gd name="connsiteY2" fmla="*/ 549328 h 6858000"/>
              <a:gd name="connsiteX3" fmla="*/ 11718066 w 12192000"/>
              <a:gd name="connsiteY3" fmla="*/ 550796 h 6858000"/>
              <a:gd name="connsiteX4" fmla="*/ 11750147 w 12192000"/>
              <a:gd name="connsiteY4" fmla="*/ 534834 h 6858000"/>
              <a:gd name="connsiteX5" fmla="*/ 11776529 w 12192000"/>
              <a:gd name="connsiteY5" fmla="*/ 511343 h 6858000"/>
              <a:gd name="connsiteX6" fmla="*/ 11769485 w 12192000"/>
              <a:gd name="connsiteY6" fmla="*/ 534267 h 6858000"/>
              <a:gd name="connsiteX7" fmla="*/ 11704684 w 12192000"/>
              <a:gd name="connsiteY7" fmla="*/ 577228 h 6858000"/>
              <a:gd name="connsiteX8" fmla="*/ 11758983 w 12192000"/>
              <a:gd name="connsiteY8" fmla="*/ 591915 h 6858000"/>
              <a:gd name="connsiteX9" fmla="*/ 11888125 w 12192000"/>
              <a:gd name="connsiteY9" fmla="*/ 549322 h 6858000"/>
              <a:gd name="connsiteX10" fmla="*/ 11823554 w 12192000"/>
              <a:gd name="connsiteY10" fmla="*/ 492041 h 6858000"/>
              <a:gd name="connsiteX11" fmla="*/ 11888125 w 12192000"/>
              <a:gd name="connsiteY11" fmla="*/ 522885 h 6858000"/>
              <a:gd name="connsiteX12" fmla="*/ 11973357 w 12192000"/>
              <a:gd name="connsiteY12" fmla="*/ 465260 h 6858000"/>
              <a:gd name="connsiteX13" fmla="*/ 11980572 w 12192000"/>
              <a:gd name="connsiteY13" fmla="*/ 428927 h 6858000"/>
              <a:gd name="connsiteX14" fmla="*/ 11980580 w 12192000"/>
              <a:gd name="connsiteY14" fmla="*/ 428969 h 6858000"/>
              <a:gd name="connsiteX15" fmla="*/ 11980580 w 12192000"/>
              <a:gd name="connsiteY15" fmla="*/ 428886 h 6858000"/>
              <a:gd name="connsiteX16" fmla="*/ 11980580 w 12192000"/>
              <a:gd name="connsiteY16" fmla="*/ 426033 h 6858000"/>
              <a:gd name="connsiteX17" fmla="*/ 11908719 w 12192000"/>
              <a:gd name="connsiteY17" fmla="*/ 277785 h 6858000"/>
              <a:gd name="connsiteX18" fmla="*/ 11795794 w 12192000"/>
              <a:gd name="connsiteY18" fmla="*/ 207330 h 6858000"/>
              <a:gd name="connsiteX19" fmla="*/ 11785528 w 12192000"/>
              <a:gd name="connsiteY19" fmla="*/ 202927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5528" y="202927"/>
                </a:moveTo>
                <a:cubicBezTo>
                  <a:pt x="11735665" y="263107"/>
                  <a:pt x="11561144" y="308609"/>
                  <a:pt x="11561144" y="434840"/>
                </a:cubicBezTo>
                <a:cubicBezTo>
                  <a:pt x="11561144" y="484745"/>
                  <a:pt x="11591942" y="531715"/>
                  <a:pt x="11638872" y="549328"/>
                </a:cubicBezTo>
                <a:cubicBezTo>
                  <a:pt x="11665270" y="559603"/>
                  <a:pt x="11691668" y="559603"/>
                  <a:pt x="11718066" y="550796"/>
                </a:cubicBezTo>
                <a:cubicBezTo>
                  <a:pt x="11729799" y="547127"/>
                  <a:pt x="11740431" y="541622"/>
                  <a:pt x="11750147" y="534834"/>
                </a:cubicBezTo>
                <a:lnTo>
                  <a:pt x="11776529" y="511343"/>
                </a:lnTo>
                <a:lnTo>
                  <a:pt x="11769485" y="534267"/>
                </a:lnTo>
                <a:cubicBezTo>
                  <a:pt x="11757790" y="556023"/>
                  <a:pt x="11733301" y="572822"/>
                  <a:pt x="11704684" y="577228"/>
                </a:cubicBezTo>
                <a:cubicBezTo>
                  <a:pt x="11713489" y="586040"/>
                  <a:pt x="11734035" y="591915"/>
                  <a:pt x="11758983" y="591915"/>
                </a:cubicBezTo>
                <a:cubicBezTo>
                  <a:pt x="11804476" y="591915"/>
                  <a:pt x="11860242" y="578696"/>
                  <a:pt x="11888125" y="549322"/>
                </a:cubicBezTo>
                <a:cubicBezTo>
                  <a:pt x="11849970" y="550790"/>
                  <a:pt x="11825022" y="525822"/>
                  <a:pt x="11823554" y="492041"/>
                </a:cubicBezTo>
                <a:cubicBezTo>
                  <a:pt x="11841164" y="514072"/>
                  <a:pt x="11863177" y="522885"/>
                  <a:pt x="11888125" y="522885"/>
                </a:cubicBezTo>
                <a:cubicBezTo>
                  <a:pt x="11926648" y="522885"/>
                  <a:pt x="11959392" y="498926"/>
                  <a:pt x="11973357" y="465260"/>
                </a:cubicBezTo>
                <a:lnTo>
                  <a:pt x="11980572" y="428927"/>
                </a:lnTo>
                <a:lnTo>
                  <a:pt x="11980580" y="428969"/>
                </a:lnTo>
                <a:lnTo>
                  <a:pt x="11980580" y="428886"/>
                </a:lnTo>
                <a:lnTo>
                  <a:pt x="11980580" y="426033"/>
                </a:lnTo>
                <a:cubicBezTo>
                  <a:pt x="11980580" y="367321"/>
                  <a:pt x="11951249" y="317416"/>
                  <a:pt x="11908719" y="277785"/>
                </a:cubicBezTo>
                <a:cubicBezTo>
                  <a:pt x="11876454" y="246961"/>
                  <a:pt x="11836857" y="224944"/>
                  <a:pt x="11795794" y="207330"/>
                </a:cubicBezTo>
                <a:cubicBezTo>
                  <a:pt x="11792860" y="205863"/>
                  <a:pt x="11789927" y="204395"/>
                  <a:pt x="11785528" y="2029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de-DE"/>
              <a:t>Insert picture, add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</p:spTree>
    <p:extLst>
      <p:ext uri="{BB962C8B-B14F-4D97-AF65-F5344CB8AC3E}">
        <p14:creationId xmlns:p14="http://schemas.microsoft.com/office/powerpoint/2010/main" val="35472295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Our-point-of-view_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5A65EDB-84EA-1F4E-A6FC-A4D9EA7BFD4F}"/>
              </a:ext>
            </a:extLst>
          </p:cNvPr>
          <p:cNvSpPr txBox="1"/>
          <p:nvPr userDrawn="1"/>
        </p:nvSpPr>
        <p:spPr>
          <a:xfrm>
            <a:off x="594564" y="2075916"/>
            <a:ext cx="1169858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0" b="0" i="0" dirty="0">
                <a:solidFill>
                  <a:schemeClr val="bg1"/>
                </a:solidFill>
                <a:latin typeface="Ubuntu Light" panose="020B0504030602030204" pitchFamily="34" charset="0"/>
              </a:rPr>
              <a:t>THANK YOU</a:t>
            </a:r>
          </a:p>
        </p:txBody>
      </p:sp>
      <p:sp>
        <p:nvSpPr>
          <p:cNvPr id="9" name="Graphic 4118">
            <a:extLst>
              <a:ext uri="{FF2B5EF4-FFF2-40B4-BE49-F238E27FC236}">
                <a16:creationId xmlns:a16="http://schemas.microsoft.com/office/drawing/2014/main" id="{0C8B51E2-A377-104A-8FFD-ECE2E6C71223}"/>
              </a:ext>
            </a:extLst>
          </p:cNvPr>
          <p:cNvSpPr/>
          <p:nvPr userDrawn="1"/>
        </p:nvSpPr>
        <p:spPr>
          <a:xfrm>
            <a:off x="1022384" y="694098"/>
            <a:ext cx="10373491" cy="5997112"/>
          </a:xfrm>
          <a:custGeom>
            <a:avLst/>
            <a:gdLst>
              <a:gd name="connsiteX0" fmla="*/ 8092440 w 8092440"/>
              <a:gd name="connsiteY0" fmla="*/ 240026 h 4678393"/>
              <a:gd name="connsiteX1" fmla="*/ 6103620 w 8092440"/>
              <a:gd name="connsiteY1" fmla="*/ 1262582 h 4678393"/>
              <a:gd name="connsiteX2" fmla="*/ 2603183 w 8092440"/>
              <a:gd name="connsiteY2" fmla="*/ 2187163 h 4678393"/>
              <a:gd name="connsiteX3" fmla="*/ 0 w 8092440"/>
              <a:gd name="connsiteY3" fmla="*/ 4678394 h 4678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92440" h="4678393">
                <a:moveTo>
                  <a:pt x="8092440" y="240026"/>
                </a:moveTo>
                <a:cubicBezTo>
                  <a:pt x="8092440" y="240026"/>
                  <a:pt x="5580698" y="-740676"/>
                  <a:pt x="6103620" y="1262582"/>
                </a:cubicBezTo>
                <a:cubicBezTo>
                  <a:pt x="6592253" y="3134573"/>
                  <a:pt x="4632960" y="3238255"/>
                  <a:pt x="2603183" y="2187163"/>
                </a:cubicBezTo>
                <a:cubicBezTo>
                  <a:pt x="560070" y="2971915"/>
                  <a:pt x="0" y="4678394"/>
                  <a:pt x="0" y="4678394"/>
                </a:cubicBezTo>
              </a:path>
            </a:pathLst>
          </a:custGeom>
          <a:noFill/>
          <a:ln w="38100" cap="flat">
            <a:gradFill>
              <a:gsLst>
                <a:gs pos="49000">
                  <a:schemeClr val="accent2"/>
                </a:gs>
                <a:gs pos="1000">
                  <a:schemeClr val="accent2">
                    <a:alpha val="0"/>
                  </a:schemeClr>
                </a:gs>
                <a:gs pos="100000">
                  <a:schemeClr val="accent2">
                    <a:alpha val="0"/>
                  </a:schemeClr>
                </a:gs>
              </a:gsLst>
              <a:lin ang="0" scaled="0"/>
            </a:gra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278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A2F3ACC-546E-7E80-95F6-C3832DAFFD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89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50D18"/>
          </a:solidFill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A2313D-0801-D573-F664-D02576E34A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9679527" flipH="1">
            <a:off x="571423" y="1842042"/>
            <a:ext cx="6555178" cy="3909048"/>
          </a:xfrm>
          <a:custGeom>
            <a:avLst/>
            <a:gdLst>
              <a:gd name="connsiteX0" fmla="*/ 0 w 6555178"/>
              <a:gd name="connsiteY0" fmla="*/ 0 h 3909048"/>
              <a:gd name="connsiteX1" fmla="*/ 0 w 6555178"/>
              <a:gd name="connsiteY1" fmla="*/ 3909048 h 3909048"/>
              <a:gd name="connsiteX2" fmla="*/ 6555178 w 6555178"/>
              <a:gd name="connsiteY2" fmla="*/ 3909048 h 3909048"/>
              <a:gd name="connsiteX3" fmla="*/ 6555178 w 6555178"/>
              <a:gd name="connsiteY3" fmla="*/ 0 h 3909048"/>
              <a:gd name="connsiteX4" fmla="*/ 0 w 6555178"/>
              <a:gd name="connsiteY4" fmla="*/ 0 h 3909048"/>
              <a:gd name="connsiteX5" fmla="*/ 4016734 w 6555178"/>
              <a:gd name="connsiteY5" fmla="*/ 2903700 h 3909048"/>
              <a:gd name="connsiteX6" fmla="*/ 4263087 w 6555178"/>
              <a:gd name="connsiteY6" fmla="*/ 2894490 h 3909048"/>
              <a:gd name="connsiteX7" fmla="*/ 4727300 w 6555178"/>
              <a:gd name="connsiteY7" fmla="*/ 2866424 h 3909048"/>
              <a:gd name="connsiteX8" fmla="*/ 5217984 w 6555178"/>
              <a:gd name="connsiteY8" fmla="*/ 2756912 h 3909048"/>
              <a:gd name="connsiteX9" fmla="*/ 5268471 w 6555178"/>
              <a:gd name="connsiteY9" fmla="*/ 2877619 h 3909048"/>
              <a:gd name="connsiteX10" fmla="*/ 5023692 w 6555178"/>
              <a:gd name="connsiteY10" fmla="*/ 2973209 h 3909048"/>
              <a:gd name="connsiteX11" fmla="*/ 4433837 w 6555178"/>
              <a:gd name="connsiteY11" fmla="*/ 3059841 h 3909048"/>
              <a:gd name="connsiteX12" fmla="*/ 4103793 w 6555178"/>
              <a:gd name="connsiteY12" fmla="*/ 3019020 h 3909048"/>
              <a:gd name="connsiteX13" fmla="*/ 4016734 w 6555178"/>
              <a:gd name="connsiteY13" fmla="*/ 2903700 h 3909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55178" h="3909048">
                <a:moveTo>
                  <a:pt x="0" y="0"/>
                </a:moveTo>
                <a:lnTo>
                  <a:pt x="0" y="3909048"/>
                </a:lnTo>
                <a:lnTo>
                  <a:pt x="6555178" y="3909048"/>
                </a:lnTo>
                <a:lnTo>
                  <a:pt x="6555178" y="0"/>
                </a:lnTo>
                <a:lnTo>
                  <a:pt x="0" y="0"/>
                </a:lnTo>
                <a:close/>
                <a:moveTo>
                  <a:pt x="4016734" y="2903700"/>
                </a:moveTo>
                <a:lnTo>
                  <a:pt x="4263087" y="2894490"/>
                </a:lnTo>
                <a:lnTo>
                  <a:pt x="4727300" y="2866424"/>
                </a:lnTo>
                <a:lnTo>
                  <a:pt x="5217984" y="2756912"/>
                </a:lnTo>
                <a:lnTo>
                  <a:pt x="5268471" y="2877619"/>
                </a:lnTo>
                <a:lnTo>
                  <a:pt x="5023692" y="2973209"/>
                </a:lnTo>
                <a:lnTo>
                  <a:pt x="4433837" y="3059841"/>
                </a:lnTo>
                <a:lnTo>
                  <a:pt x="4103793" y="3019020"/>
                </a:lnTo>
                <a:lnTo>
                  <a:pt x="4016734" y="2903700"/>
                </a:lnTo>
                <a:close/>
              </a:path>
            </a:pathLst>
          </a:cu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742323" y="2064867"/>
            <a:ext cx="5035933" cy="1994392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80000"/>
              </a:lnSpc>
              <a:defRPr sz="5400" b="1" baseline="0">
                <a:solidFill>
                  <a:schemeClr val="bg1"/>
                </a:solidFill>
                <a:latin typeface="Ubuntu Light" panose="020B03040306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743423" y="3931501"/>
            <a:ext cx="5045945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2444639-8253-9FCA-1A36-E406202DEE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0125" y="5916058"/>
            <a:ext cx="486351" cy="56185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C720E31-0915-3E92-B01F-9E19DFC276E9}"/>
              </a:ext>
            </a:extLst>
          </p:cNvPr>
          <p:cNvGrpSpPr/>
          <p:nvPr userDrawn="1"/>
        </p:nvGrpSpPr>
        <p:grpSpPr>
          <a:xfrm>
            <a:off x="8192945" y="396062"/>
            <a:ext cx="2077361" cy="509949"/>
            <a:chOff x="418978" y="396062"/>
            <a:chExt cx="2077361" cy="509949"/>
          </a:xfrm>
        </p:grpSpPr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54DE16D4-55C8-9B91-66B3-C9D9C88037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8978" y="466249"/>
              <a:ext cx="1971683" cy="439762"/>
            </a:xfrm>
            <a:prstGeom prst="rect">
              <a:avLst/>
            </a:prstGeom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6CF8269-A586-5172-F893-AFB8717492C5}"/>
                </a:ext>
              </a:extLst>
            </p:cNvPr>
            <p:cNvCxnSpPr/>
            <p:nvPr/>
          </p:nvCxnSpPr>
          <p:spPr>
            <a:xfrm>
              <a:off x="2496339" y="396062"/>
              <a:ext cx="0" cy="47082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ZoneTexte 3">
            <a:extLst>
              <a:ext uri="{FF2B5EF4-FFF2-40B4-BE49-F238E27FC236}">
                <a16:creationId xmlns:a16="http://schemas.microsoft.com/office/drawing/2014/main" id="{6D917598-075D-863A-45CF-C44967638A14}"/>
              </a:ext>
            </a:extLst>
          </p:cNvPr>
          <p:cNvSpPr txBox="1"/>
          <p:nvPr userDrawn="1"/>
        </p:nvSpPr>
        <p:spPr>
          <a:xfrm>
            <a:off x="10306414" y="400642"/>
            <a:ext cx="15512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EL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626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9B0B2E0-F4A4-454B-B8E2-67C71AD80F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80" y="1558836"/>
            <a:ext cx="11369040" cy="4618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421B9B-A7F3-418E-900B-E7B936A8E594}"/>
              </a:ext>
            </a:extLst>
          </p:cNvPr>
          <p:cNvCxnSpPr/>
          <p:nvPr userDrawn="1"/>
        </p:nvCxnSpPr>
        <p:spPr>
          <a:xfrm>
            <a:off x="0" y="957939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DCBCBE-BCEB-4A6C-ADD5-C6FFD0C83994}"/>
              </a:ext>
            </a:extLst>
          </p:cNvPr>
          <p:cNvGrpSpPr/>
          <p:nvPr userDrawn="1"/>
        </p:nvGrpSpPr>
        <p:grpSpPr>
          <a:xfrm>
            <a:off x="11607483" y="307410"/>
            <a:ext cx="346076" cy="318832"/>
            <a:chOff x="5164137" y="2832894"/>
            <a:chExt cx="1089025" cy="1003300"/>
          </a:xfrm>
          <a:solidFill>
            <a:srgbClr val="24231F"/>
          </a:solidFill>
        </p:grpSpPr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F4037283-03DE-42A5-B8AB-E174022E6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611" y="3255169"/>
              <a:ext cx="717551" cy="581025"/>
            </a:xfrm>
            <a:custGeom>
              <a:avLst/>
              <a:gdLst>
                <a:gd name="T0" fmla="*/ 298 w 452"/>
                <a:gd name="T1" fmla="*/ 254 h 366"/>
                <a:gd name="T2" fmla="*/ 330 w 452"/>
                <a:gd name="T3" fmla="*/ 252 h 366"/>
                <a:gd name="T4" fmla="*/ 358 w 452"/>
                <a:gd name="T5" fmla="*/ 242 h 366"/>
                <a:gd name="T6" fmla="*/ 384 w 452"/>
                <a:gd name="T7" fmla="*/ 228 h 366"/>
                <a:gd name="T8" fmla="*/ 406 w 452"/>
                <a:gd name="T9" fmla="*/ 210 h 366"/>
                <a:gd name="T10" fmla="*/ 424 w 452"/>
                <a:gd name="T11" fmla="*/ 186 h 366"/>
                <a:gd name="T12" fmla="*/ 438 w 452"/>
                <a:gd name="T13" fmla="*/ 160 h 366"/>
                <a:gd name="T14" fmla="*/ 448 w 452"/>
                <a:gd name="T15" fmla="*/ 132 h 366"/>
                <a:gd name="T16" fmla="*/ 452 w 452"/>
                <a:gd name="T17" fmla="*/ 102 h 366"/>
                <a:gd name="T18" fmla="*/ 448 w 452"/>
                <a:gd name="T19" fmla="*/ 88 h 366"/>
                <a:gd name="T20" fmla="*/ 438 w 452"/>
                <a:gd name="T21" fmla="*/ 54 h 366"/>
                <a:gd name="T22" fmla="*/ 422 w 452"/>
                <a:gd name="T23" fmla="*/ 30 h 366"/>
                <a:gd name="T24" fmla="*/ 406 w 452"/>
                <a:gd name="T25" fmla="*/ 16 h 366"/>
                <a:gd name="T26" fmla="*/ 384 w 452"/>
                <a:gd name="T27" fmla="*/ 6 h 366"/>
                <a:gd name="T28" fmla="*/ 356 w 452"/>
                <a:gd name="T29" fmla="*/ 0 h 366"/>
                <a:gd name="T30" fmla="*/ 338 w 452"/>
                <a:gd name="T31" fmla="*/ 0 h 366"/>
                <a:gd name="T32" fmla="*/ 304 w 452"/>
                <a:gd name="T33" fmla="*/ 6 h 366"/>
                <a:gd name="T34" fmla="*/ 272 w 452"/>
                <a:gd name="T35" fmla="*/ 24 h 366"/>
                <a:gd name="T36" fmla="*/ 246 w 452"/>
                <a:gd name="T37" fmla="*/ 50 h 366"/>
                <a:gd name="T38" fmla="*/ 222 w 452"/>
                <a:gd name="T39" fmla="*/ 82 h 366"/>
                <a:gd name="T40" fmla="*/ 174 w 452"/>
                <a:gd name="T41" fmla="*/ 160 h 366"/>
                <a:gd name="T42" fmla="*/ 134 w 452"/>
                <a:gd name="T43" fmla="*/ 218 h 366"/>
                <a:gd name="T44" fmla="*/ 118 w 452"/>
                <a:gd name="T45" fmla="*/ 234 h 366"/>
                <a:gd name="T46" fmla="*/ 106 w 452"/>
                <a:gd name="T47" fmla="*/ 272 h 366"/>
                <a:gd name="T48" fmla="*/ 80 w 452"/>
                <a:gd name="T49" fmla="*/ 306 h 366"/>
                <a:gd name="T50" fmla="*/ 44 w 452"/>
                <a:gd name="T51" fmla="*/ 330 h 366"/>
                <a:gd name="T52" fmla="*/ 0 w 452"/>
                <a:gd name="T53" fmla="*/ 342 h 366"/>
                <a:gd name="T54" fmla="*/ 6 w 452"/>
                <a:gd name="T55" fmla="*/ 348 h 366"/>
                <a:gd name="T56" fmla="*/ 36 w 452"/>
                <a:gd name="T57" fmla="*/ 360 h 366"/>
                <a:gd name="T58" fmla="*/ 90 w 452"/>
                <a:gd name="T59" fmla="*/ 366 h 366"/>
                <a:gd name="T60" fmla="*/ 118 w 452"/>
                <a:gd name="T61" fmla="*/ 366 h 366"/>
                <a:gd name="T62" fmla="*/ 176 w 452"/>
                <a:gd name="T63" fmla="*/ 358 h 366"/>
                <a:gd name="T64" fmla="*/ 232 w 452"/>
                <a:gd name="T65" fmla="*/ 340 h 366"/>
                <a:gd name="T66" fmla="*/ 280 w 452"/>
                <a:gd name="T67" fmla="*/ 314 h 366"/>
                <a:gd name="T68" fmla="*/ 300 w 452"/>
                <a:gd name="T69" fmla="*/ 298 h 366"/>
                <a:gd name="T70" fmla="*/ 258 w 452"/>
                <a:gd name="T71" fmla="*/ 292 h 366"/>
                <a:gd name="T72" fmla="*/ 224 w 452"/>
                <a:gd name="T73" fmla="*/ 272 h 366"/>
                <a:gd name="T74" fmla="*/ 202 w 452"/>
                <a:gd name="T75" fmla="*/ 242 h 366"/>
                <a:gd name="T76" fmla="*/ 194 w 452"/>
                <a:gd name="T77" fmla="*/ 204 h 366"/>
                <a:gd name="T78" fmla="*/ 204 w 452"/>
                <a:gd name="T79" fmla="*/ 216 h 366"/>
                <a:gd name="T80" fmla="*/ 230 w 452"/>
                <a:gd name="T81" fmla="*/ 236 h 366"/>
                <a:gd name="T82" fmla="*/ 256 w 452"/>
                <a:gd name="T83" fmla="*/ 248 h 366"/>
                <a:gd name="T84" fmla="*/ 284 w 452"/>
                <a:gd name="T85" fmla="*/ 25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" h="366">
                  <a:moveTo>
                    <a:pt x="298" y="254"/>
                  </a:moveTo>
                  <a:lnTo>
                    <a:pt x="298" y="254"/>
                  </a:lnTo>
                  <a:lnTo>
                    <a:pt x="314" y="254"/>
                  </a:lnTo>
                  <a:lnTo>
                    <a:pt x="330" y="252"/>
                  </a:lnTo>
                  <a:lnTo>
                    <a:pt x="344" y="248"/>
                  </a:lnTo>
                  <a:lnTo>
                    <a:pt x="358" y="242"/>
                  </a:lnTo>
                  <a:lnTo>
                    <a:pt x="372" y="236"/>
                  </a:lnTo>
                  <a:lnTo>
                    <a:pt x="384" y="228"/>
                  </a:lnTo>
                  <a:lnTo>
                    <a:pt x="396" y="220"/>
                  </a:lnTo>
                  <a:lnTo>
                    <a:pt x="406" y="210"/>
                  </a:lnTo>
                  <a:lnTo>
                    <a:pt x="416" y="198"/>
                  </a:lnTo>
                  <a:lnTo>
                    <a:pt x="424" y="186"/>
                  </a:lnTo>
                  <a:lnTo>
                    <a:pt x="432" y="174"/>
                  </a:lnTo>
                  <a:lnTo>
                    <a:pt x="438" y="160"/>
                  </a:lnTo>
                  <a:lnTo>
                    <a:pt x="444" y="148"/>
                  </a:lnTo>
                  <a:lnTo>
                    <a:pt x="448" y="132"/>
                  </a:lnTo>
                  <a:lnTo>
                    <a:pt x="450" y="118"/>
                  </a:lnTo>
                  <a:lnTo>
                    <a:pt x="452" y="102"/>
                  </a:lnTo>
                  <a:lnTo>
                    <a:pt x="452" y="102"/>
                  </a:lnTo>
                  <a:lnTo>
                    <a:pt x="448" y="88"/>
                  </a:lnTo>
                  <a:lnTo>
                    <a:pt x="444" y="70"/>
                  </a:lnTo>
                  <a:lnTo>
                    <a:pt x="438" y="54"/>
                  </a:lnTo>
                  <a:lnTo>
                    <a:pt x="428" y="38"/>
                  </a:lnTo>
                  <a:lnTo>
                    <a:pt x="422" y="30"/>
                  </a:lnTo>
                  <a:lnTo>
                    <a:pt x="414" y="22"/>
                  </a:lnTo>
                  <a:lnTo>
                    <a:pt x="406" y="16"/>
                  </a:lnTo>
                  <a:lnTo>
                    <a:pt x="394" y="10"/>
                  </a:lnTo>
                  <a:lnTo>
                    <a:pt x="384" y="6"/>
                  </a:lnTo>
                  <a:lnTo>
                    <a:pt x="370" y="2"/>
                  </a:lnTo>
                  <a:lnTo>
                    <a:pt x="356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20" y="0"/>
                  </a:lnTo>
                  <a:lnTo>
                    <a:pt x="304" y="6"/>
                  </a:lnTo>
                  <a:lnTo>
                    <a:pt x="288" y="14"/>
                  </a:lnTo>
                  <a:lnTo>
                    <a:pt x="272" y="24"/>
                  </a:lnTo>
                  <a:lnTo>
                    <a:pt x="258" y="36"/>
                  </a:lnTo>
                  <a:lnTo>
                    <a:pt x="246" y="50"/>
                  </a:lnTo>
                  <a:lnTo>
                    <a:pt x="234" y="66"/>
                  </a:lnTo>
                  <a:lnTo>
                    <a:pt x="222" y="82"/>
                  </a:lnTo>
                  <a:lnTo>
                    <a:pt x="198" y="120"/>
                  </a:lnTo>
                  <a:lnTo>
                    <a:pt x="174" y="160"/>
                  </a:lnTo>
                  <a:lnTo>
                    <a:pt x="148" y="198"/>
                  </a:lnTo>
                  <a:lnTo>
                    <a:pt x="134" y="218"/>
                  </a:lnTo>
                  <a:lnTo>
                    <a:pt x="118" y="234"/>
                  </a:lnTo>
                  <a:lnTo>
                    <a:pt x="118" y="234"/>
                  </a:lnTo>
                  <a:lnTo>
                    <a:pt x="114" y="254"/>
                  </a:lnTo>
                  <a:lnTo>
                    <a:pt x="106" y="272"/>
                  </a:lnTo>
                  <a:lnTo>
                    <a:pt x="94" y="290"/>
                  </a:lnTo>
                  <a:lnTo>
                    <a:pt x="80" y="306"/>
                  </a:lnTo>
                  <a:lnTo>
                    <a:pt x="64" y="318"/>
                  </a:lnTo>
                  <a:lnTo>
                    <a:pt x="44" y="330"/>
                  </a:lnTo>
                  <a:lnTo>
                    <a:pt x="22" y="338"/>
                  </a:lnTo>
                  <a:lnTo>
                    <a:pt x="0" y="342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14" y="354"/>
                  </a:lnTo>
                  <a:lnTo>
                    <a:pt x="36" y="360"/>
                  </a:lnTo>
                  <a:lnTo>
                    <a:pt x="60" y="366"/>
                  </a:lnTo>
                  <a:lnTo>
                    <a:pt x="90" y="366"/>
                  </a:lnTo>
                  <a:lnTo>
                    <a:pt x="90" y="366"/>
                  </a:lnTo>
                  <a:lnTo>
                    <a:pt x="118" y="366"/>
                  </a:lnTo>
                  <a:lnTo>
                    <a:pt x="146" y="362"/>
                  </a:lnTo>
                  <a:lnTo>
                    <a:pt x="176" y="358"/>
                  </a:lnTo>
                  <a:lnTo>
                    <a:pt x="204" y="350"/>
                  </a:lnTo>
                  <a:lnTo>
                    <a:pt x="232" y="340"/>
                  </a:lnTo>
                  <a:lnTo>
                    <a:pt x="258" y="328"/>
                  </a:lnTo>
                  <a:lnTo>
                    <a:pt x="280" y="314"/>
                  </a:lnTo>
                  <a:lnTo>
                    <a:pt x="300" y="298"/>
                  </a:lnTo>
                  <a:lnTo>
                    <a:pt x="300" y="298"/>
                  </a:lnTo>
                  <a:lnTo>
                    <a:pt x="278" y="296"/>
                  </a:lnTo>
                  <a:lnTo>
                    <a:pt x="258" y="292"/>
                  </a:lnTo>
                  <a:lnTo>
                    <a:pt x="240" y="284"/>
                  </a:lnTo>
                  <a:lnTo>
                    <a:pt x="224" y="272"/>
                  </a:lnTo>
                  <a:lnTo>
                    <a:pt x="212" y="258"/>
                  </a:lnTo>
                  <a:lnTo>
                    <a:pt x="202" y="242"/>
                  </a:lnTo>
                  <a:lnTo>
                    <a:pt x="196" y="224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204" y="216"/>
                  </a:lnTo>
                  <a:lnTo>
                    <a:pt x="216" y="228"/>
                  </a:lnTo>
                  <a:lnTo>
                    <a:pt x="230" y="236"/>
                  </a:lnTo>
                  <a:lnTo>
                    <a:pt x="242" y="242"/>
                  </a:lnTo>
                  <a:lnTo>
                    <a:pt x="256" y="248"/>
                  </a:lnTo>
                  <a:lnTo>
                    <a:pt x="270" y="252"/>
                  </a:lnTo>
                  <a:lnTo>
                    <a:pt x="284" y="254"/>
                  </a:lnTo>
                  <a:lnTo>
                    <a:pt x="298" y="25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6D7B41DD-6D67-480F-980D-6D2C19056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4137" y="2832894"/>
              <a:ext cx="1089025" cy="917575"/>
            </a:xfrm>
            <a:custGeom>
              <a:avLst/>
              <a:gdLst>
                <a:gd name="T0" fmla="*/ 684 w 686"/>
                <a:gd name="T1" fmla="*/ 362 h 578"/>
                <a:gd name="T2" fmla="*/ 676 w 686"/>
                <a:gd name="T3" fmla="*/ 292 h 578"/>
                <a:gd name="T4" fmla="*/ 652 w 686"/>
                <a:gd name="T5" fmla="*/ 230 h 578"/>
                <a:gd name="T6" fmla="*/ 614 w 686"/>
                <a:gd name="T7" fmla="*/ 172 h 578"/>
                <a:gd name="T8" fmla="*/ 566 w 686"/>
                <a:gd name="T9" fmla="*/ 120 h 578"/>
                <a:gd name="T10" fmla="*/ 546 w 686"/>
                <a:gd name="T11" fmla="*/ 102 h 578"/>
                <a:gd name="T12" fmla="*/ 502 w 686"/>
                <a:gd name="T13" fmla="*/ 70 h 578"/>
                <a:gd name="T14" fmla="*/ 432 w 686"/>
                <a:gd name="T15" fmla="*/ 28 h 578"/>
                <a:gd name="T16" fmla="*/ 382 w 686"/>
                <a:gd name="T17" fmla="*/ 6 h 578"/>
                <a:gd name="T18" fmla="*/ 366 w 686"/>
                <a:gd name="T19" fmla="*/ 0 h 578"/>
                <a:gd name="T20" fmla="*/ 366 w 686"/>
                <a:gd name="T21" fmla="*/ 0 h 578"/>
                <a:gd name="T22" fmla="*/ 328 w 686"/>
                <a:gd name="T23" fmla="*/ 36 h 578"/>
                <a:gd name="T24" fmla="*/ 274 w 686"/>
                <a:gd name="T25" fmla="*/ 70 h 578"/>
                <a:gd name="T26" fmla="*/ 152 w 686"/>
                <a:gd name="T27" fmla="*/ 148 h 578"/>
                <a:gd name="T28" fmla="*/ 94 w 686"/>
                <a:gd name="T29" fmla="*/ 194 h 578"/>
                <a:gd name="T30" fmla="*/ 46 w 686"/>
                <a:gd name="T31" fmla="*/ 246 h 578"/>
                <a:gd name="T32" fmla="*/ 26 w 686"/>
                <a:gd name="T33" fmla="*/ 274 h 578"/>
                <a:gd name="T34" fmla="*/ 12 w 686"/>
                <a:gd name="T35" fmla="*/ 306 h 578"/>
                <a:gd name="T36" fmla="*/ 4 w 686"/>
                <a:gd name="T37" fmla="*/ 340 h 578"/>
                <a:gd name="T38" fmla="*/ 0 w 686"/>
                <a:gd name="T39" fmla="*/ 378 h 578"/>
                <a:gd name="T40" fmla="*/ 2 w 686"/>
                <a:gd name="T41" fmla="*/ 408 h 578"/>
                <a:gd name="T42" fmla="*/ 20 w 686"/>
                <a:gd name="T43" fmla="*/ 464 h 578"/>
                <a:gd name="T44" fmla="*/ 52 w 686"/>
                <a:gd name="T45" fmla="*/ 514 h 578"/>
                <a:gd name="T46" fmla="*/ 98 w 686"/>
                <a:gd name="T47" fmla="*/ 550 h 578"/>
                <a:gd name="T48" fmla="*/ 126 w 686"/>
                <a:gd name="T49" fmla="*/ 564 h 578"/>
                <a:gd name="T50" fmla="*/ 158 w 686"/>
                <a:gd name="T51" fmla="*/ 574 h 578"/>
                <a:gd name="T52" fmla="*/ 190 w 686"/>
                <a:gd name="T53" fmla="*/ 578 h 578"/>
                <a:gd name="T54" fmla="*/ 224 w 686"/>
                <a:gd name="T55" fmla="*/ 574 h 578"/>
                <a:gd name="T56" fmla="*/ 256 w 686"/>
                <a:gd name="T57" fmla="*/ 566 h 578"/>
                <a:gd name="T58" fmla="*/ 284 w 686"/>
                <a:gd name="T59" fmla="*/ 556 h 578"/>
                <a:gd name="T60" fmla="*/ 332 w 686"/>
                <a:gd name="T61" fmla="*/ 522 h 578"/>
                <a:gd name="T62" fmla="*/ 352 w 686"/>
                <a:gd name="T63" fmla="*/ 500 h 578"/>
                <a:gd name="T64" fmla="*/ 382 w 686"/>
                <a:gd name="T65" fmla="*/ 464 h 578"/>
                <a:gd name="T66" fmla="*/ 432 w 686"/>
                <a:gd name="T67" fmla="*/ 386 h 578"/>
                <a:gd name="T68" fmla="*/ 468 w 686"/>
                <a:gd name="T69" fmla="*/ 332 h 578"/>
                <a:gd name="T70" fmla="*/ 492 w 686"/>
                <a:gd name="T71" fmla="*/ 302 h 578"/>
                <a:gd name="T72" fmla="*/ 522 w 686"/>
                <a:gd name="T73" fmla="*/ 280 h 578"/>
                <a:gd name="T74" fmla="*/ 554 w 686"/>
                <a:gd name="T75" fmla="*/ 266 h 578"/>
                <a:gd name="T76" fmla="*/ 572 w 686"/>
                <a:gd name="T77" fmla="*/ 266 h 578"/>
                <a:gd name="T78" fmla="*/ 604 w 686"/>
                <a:gd name="T79" fmla="*/ 268 h 578"/>
                <a:gd name="T80" fmla="*/ 628 w 686"/>
                <a:gd name="T81" fmla="*/ 276 h 578"/>
                <a:gd name="T82" fmla="*/ 648 w 686"/>
                <a:gd name="T83" fmla="*/ 288 h 578"/>
                <a:gd name="T84" fmla="*/ 662 w 686"/>
                <a:gd name="T85" fmla="*/ 304 h 578"/>
                <a:gd name="T86" fmla="*/ 678 w 686"/>
                <a:gd name="T87" fmla="*/ 336 h 578"/>
                <a:gd name="T88" fmla="*/ 686 w 686"/>
                <a:gd name="T89" fmla="*/ 368 h 578"/>
                <a:gd name="T90" fmla="*/ 684 w 686"/>
                <a:gd name="T91" fmla="*/ 362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86" h="578">
                  <a:moveTo>
                    <a:pt x="684" y="362"/>
                  </a:moveTo>
                  <a:lnTo>
                    <a:pt x="684" y="362"/>
                  </a:lnTo>
                  <a:lnTo>
                    <a:pt x="682" y="326"/>
                  </a:lnTo>
                  <a:lnTo>
                    <a:pt x="676" y="292"/>
                  </a:lnTo>
                  <a:lnTo>
                    <a:pt x="666" y="260"/>
                  </a:lnTo>
                  <a:lnTo>
                    <a:pt x="652" y="230"/>
                  </a:lnTo>
                  <a:lnTo>
                    <a:pt x="634" y="200"/>
                  </a:lnTo>
                  <a:lnTo>
                    <a:pt x="614" y="172"/>
                  </a:lnTo>
                  <a:lnTo>
                    <a:pt x="592" y="146"/>
                  </a:lnTo>
                  <a:lnTo>
                    <a:pt x="566" y="120"/>
                  </a:lnTo>
                  <a:lnTo>
                    <a:pt x="566" y="120"/>
                  </a:lnTo>
                  <a:lnTo>
                    <a:pt x="546" y="102"/>
                  </a:lnTo>
                  <a:lnTo>
                    <a:pt x="524" y="86"/>
                  </a:lnTo>
                  <a:lnTo>
                    <a:pt x="502" y="70"/>
                  </a:lnTo>
                  <a:lnTo>
                    <a:pt x="480" y="56"/>
                  </a:lnTo>
                  <a:lnTo>
                    <a:pt x="432" y="28"/>
                  </a:lnTo>
                  <a:lnTo>
                    <a:pt x="382" y="6"/>
                  </a:lnTo>
                  <a:lnTo>
                    <a:pt x="382" y="6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48" y="18"/>
                  </a:lnTo>
                  <a:lnTo>
                    <a:pt x="328" y="36"/>
                  </a:lnTo>
                  <a:lnTo>
                    <a:pt x="302" y="54"/>
                  </a:lnTo>
                  <a:lnTo>
                    <a:pt x="274" y="70"/>
                  </a:lnTo>
                  <a:lnTo>
                    <a:pt x="214" y="108"/>
                  </a:lnTo>
                  <a:lnTo>
                    <a:pt x="152" y="148"/>
                  </a:lnTo>
                  <a:lnTo>
                    <a:pt x="122" y="170"/>
                  </a:lnTo>
                  <a:lnTo>
                    <a:pt x="94" y="194"/>
                  </a:lnTo>
                  <a:lnTo>
                    <a:pt x="68" y="218"/>
                  </a:lnTo>
                  <a:lnTo>
                    <a:pt x="46" y="246"/>
                  </a:lnTo>
                  <a:lnTo>
                    <a:pt x="36" y="260"/>
                  </a:lnTo>
                  <a:lnTo>
                    <a:pt x="26" y="274"/>
                  </a:lnTo>
                  <a:lnTo>
                    <a:pt x="18" y="290"/>
                  </a:lnTo>
                  <a:lnTo>
                    <a:pt x="12" y="306"/>
                  </a:lnTo>
                  <a:lnTo>
                    <a:pt x="6" y="322"/>
                  </a:lnTo>
                  <a:lnTo>
                    <a:pt x="4" y="340"/>
                  </a:lnTo>
                  <a:lnTo>
                    <a:pt x="0" y="358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2" y="408"/>
                  </a:lnTo>
                  <a:lnTo>
                    <a:pt x="8" y="436"/>
                  </a:lnTo>
                  <a:lnTo>
                    <a:pt x="20" y="464"/>
                  </a:lnTo>
                  <a:lnTo>
                    <a:pt x="34" y="490"/>
                  </a:lnTo>
                  <a:lnTo>
                    <a:pt x="52" y="514"/>
                  </a:lnTo>
                  <a:lnTo>
                    <a:pt x="74" y="534"/>
                  </a:lnTo>
                  <a:lnTo>
                    <a:pt x="98" y="550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42" y="570"/>
                  </a:lnTo>
                  <a:lnTo>
                    <a:pt x="158" y="574"/>
                  </a:lnTo>
                  <a:lnTo>
                    <a:pt x="174" y="576"/>
                  </a:lnTo>
                  <a:lnTo>
                    <a:pt x="190" y="578"/>
                  </a:lnTo>
                  <a:lnTo>
                    <a:pt x="206" y="576"/>
                  </a:lnTo>
                  <a:lnTo>
                    <a:pt x="224" y="574"/>
                  </a:lnTo>
                  <a:lnTo>
                    <a:pt x="240" y="572"/>
                  </a:lnTo>
                  <a:lnTo>
                    <a:pt x="256" y="566"/>
                  </a:lnTo>
                  <a:lnTo>
                    <a:pt x="256" y="566"/>
                  </a:lnTo>
                  <a:lnTo>
                    <a:pt x="284" y="556"/>
                  </a:lnTo>
                  <a:lnTo>
                    <a:pt x="308" y="540"/>
                  </a:lnTo>
                  <a:lnTo>
                    <a:pt x="332" y="522"/>
                  </a:lnTo>
                  <a:lnTo>
                    <a:pt x="352" y="500"/>
                  </a:lnTo>
                  <a:lnTo>
                    <a:pt x="352" y="500"/>
                  </a:lnTo>
                  <a:lnTo>
                    <a:pt x="368" y="484"/>
                  </a:lnTo>
                  <a:lnTo>
                    <a:pt x="382" y="464"/>
                  </a:lnTo>
                  <a:lnTo>
                    <a:pt x="408" y="426"/>
                  </a:lnTo>
                  <a:lnTo>
                    <a:pt x="432" y="386"/>
                  </a:lnTo>
                  <a:lnTo>
                    <a:pt x="456" y="348"/>
                  </a:lnTo>
                  <a:lnTo>
                    <a:pt x="468" y="332"/>
                  </a:lnTo>
                  <a:lnTo>
                    <a:pt x="480" y="316"/>
                  </a:lnTo>
                  <a:lnTo>
                    <a:pt x="492" y="302"/>
                  </a:lnTo>
                  <a:lnTo>
                    <a:pt x="506" y="290"/>
                  </a:lnTo>
                  <a:lnTo>
                    <a:pt x="522" y="280"/>
                  </a:lnTo>
                  <a:lnTo>
                    <a:pt x="538" y="272"/>
                  </a:lnTo>
                  <a:lnTo>
                    <a:pt x="554" y="266"/>
                  </a:lnTo>
                  <a:lnTo>
                    <a:pt x="572" y="266"/>
                  </a:lnTo>
                  <a:lnTo>
                    <a:pt x="572" y="266"/>
                  </a:lnTo>
                  <a:lnTo>
                    <a:pt x="590" y="266"/>
                  </a:lnTo>
                  <a:lnTo>
                    <a:pt x="604" y="268"/>
                  </a:lnTo>
                  <a:lnTo>
                    <a:pt x="618" y="272"/>
                  </a:lnTo>
                  <a:lnTo>
                    <a:pt x="628" y="276"/>
                  </a:lnTo>
                  <a:lnTo>
                    <a:pt x="640" y="282"/>
                  </a:lnTo>
                  <a:lnTo>
                    <a:pt x="648" y="288"/>
                  </a:lnTo>
                  <a:lnTo>
                    <a:pt x="656" y="296"/>
                  </a:lnTo>
                  <a:lnTo>
                    <a:pt x="662" y="304"/>
                  </a:lnTo>
                  <a:lnTo>
                    <a:pt x="672" y="320"/>
                  </a:lnTo>
                  <a:lnTo>
                    <a:pt x="678" y="336"/>
                  </a:lnTo>
                  <a:lnTo>
                    <a:pt x="682" y="354"/>
                  </a:lnTo>
                  <a:lnTo>
                    <a:pt x="686" y="368"/>
                  </a:lnTo>
                  <a:lnTo>
                    <a:pt x="686" y="368"/>
                  </a:lnTo>
                  <a:lnTo>
                    <a:pt x="684" y="36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7AD485-CEEC-4747-A590-B6FED9938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79" y="1"/>
            <a:ext cx="10972800" cy="933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22860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575A2B-108D-48E8-9595-50F81C40EE17}"/>
              </a:ext>
            </a:extLst>
          </p:cNvPr>
          <p:cNvSpPr/>
          <p:nvPr userDrawn="1"/>
        </p:nvSpPr>
        <p:spPr>
          <a:xfrm>
            <a:off x="0" y="5869172"/>
            <a:ext cx="12192000" cy="9888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EC60FEB-6DCA-4760-B944-7E381D96B841}"/>
              </a:ext>
            </a:extLst>
          </p:cNvPr>
          <p:cNvGrpSpPr/>
          <p:nvPr userDrawn="1"/>
        </p:nvGrpSpPr>
        <p:grpSpPr>
          <a:xfrm>
            <a:off x="10018875" y="6186024"/>
            <a:ext cx="1970079" cy="456076"/>
            <a:chOff x="10018875" y="6186024"/>
            <a:chExt cx="1970079" cy="45607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D0C9073-1D31-45D6-8490-116EC51ABBD0}"/>
                </a:ext>
              </a:extLst>
            </p:cNvPr>
            <p:cNvGrpSpPr/>
            <p:nvPr userDrawn="1"/>
          </p:nvGrpSpPr>
          <p:grpSpPr>
            <a:xfrm>
              <a:off x="11642878" y="6197819"/>
              <a:ext cx="346076" cy="318832"/>
              <a:chOff x="5164137" y="2832894"/>
              <a:chExt cx="1089025" cy="1003300"/>
            </a:xfrm>
            <a:solidFill>
              <a:schemeClr val="bg1"/>
            </a:solidFill>
          </p:grpSpPr>
          <p:sp>
            <p:nvSpPr>
              <p:cNvPr id="14" name="Freeform 20">
                <a:extLst>
                  <a:ext uri="{FF2B5EF4-FFF2-40B4-BE49-F238E27FC236}">
                    <a16:creationId xmlns:a16="http://schemas.microsoft.com/office/drawing/2014/main" id="{EE995D5B-B6B2-4A11-8B9F-1B0947D7B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5612" y="3255169"/>
                <a:ext cx="717550" cy="581025"/>
              </a:xfrm>
              <a:custGeom>
                <a:avLst/>
                <a:gdLst>
                  <a:gd name="T0" fmla="*/ 298 w 452"/>
                  <a:gd name="T1" fmla="*/ 254 h 366"/>
                  <a:gd name="T2" fmla="*/ 330 w 452"/>
                  <a:gd name="T3" fmla="*/ 252 h 366"/>
                  <a:gd name="T4" fmla="*/ 358 w 452"/>
                  <a:gd name="T5" fmla="*/ 242 h 366"/>
                  <a:gd name="T6" fmla="*/ 384 w 452"/>
                  <a:gd name="T7" fmla="*/ 228 h 366"/>
                  <a:gd name="T8" fmla="*/ 406 w 452"/>
                  <a:gd name="T9" fmla="*/ 210 h 366"/>
                  <a:gd name="T10" fmla="*/ 424 w 452"/>
                  <a:gd name="T11" fmla="*/ 186 h 366"/>
                  <a:gd name="T12" fmla="*/ 438 w 452"/>
                  <a:gd name="T13" fmla="*/ 160 h 366"/>
                  <a:gd name="T14" fmla="*/ 448 w 452"/>
                  <a:gd name="T15" fmla="*/ 132 h 366"/>
                  <a:gd name="T16" fmla="*/ 452 w 452"/>
                  <a:gd name="T17" fmla="*/ 102 h 366"/>
                  <a:gd name="T18" fmla="*/ 448 w 452"/>
                  <a:gd name="T19" fmla="*/ 88 h 366"/>
                  <a:gd name="T20" fmla="*/ 438 w 452"/>
                  <a:gd name="T21" fmla="*/ 54 h 366"/>
                  <a:gd name="T22" fmla="*/ 422 w 452"/>
                  <a:gd name="T23" fmla="*/ 30 h 366"/>
                  <a:gd name="T24" fmla="*/ 406 w 452"/>
                  <a:gd name="T25" fmla="*/ 16 h 366"/>
                  <a:gd name="T26" fmla="*/ 384 w 452"/>
                  <a:gd name="T27" fmla="*/ 6 h 366"/>
                  <a:gd name="T28" fmla="*/ 356 w 452"/>
                  <a:gd name="T29" fmla="*/ 0 h 366"/>
                  <a:gd name="T30" fmla="*/ 338 w 452"/>
                  <a:gd name="T31" fmla="*/ 0 h 366"/>
                  <a:gd name="T32" fmla="*/ 304 w 452"/>
                  <a:gd name="T33" fmla="*/ 6 h 366"/>
                  <a:gd name="T34" fmla="*/ 272 w 452"/>
                  <a:gd name="T35" fmla="*/ 24 h 366"/>
                  <a:gd name="T36" fmla="*/ 246 w 452"/>
                  <a:gd name="T37" fmla="*/ 50 h 366"/>
                  <a:gd name="T38" fmla="*/ 222 w 452"/>
                  <a:gd name="T39" fmla="*/ 82 h 366"/>
                  <a:gd name="T40" fmla="*/ 174 w 452"/>
                  <a:gd name="T41" fmla="*/ 160 h 366"/>
                  <a:gd name="T42" fmla="*/ 134 w 452"/>
                  <a:gd name="T43" fmla="*/ 218 h 366"/>
                  <a:gd name="T44" fmla="*/ 118 w 452"/>
                  <a:gd name="T45" fmla="*/ 234 h 366"/>
                  <a:gd name="T46" fmla="*/ 106 w 452"/>
                  <a:gd name="T47" fmla="*/ 272 h 366"/>
                  <a:gd name="T48" fmla="*/ 80 w 452"/>
                  <a:gd name="T49" fmla="*/ 306 h 366"/>
                  <a:gd name="T50" fmla="*/ 44 w 452"/>
                  <a:gd name="T51" fmla="*/ 330 h 366"/>
                  <a:gd name="T52" fmla="*/ 0 w 452"/>
                  <a:gd name="T53" fmla="*/ 342 h 366"/>
                  <a:gd name="T54" fmla="*/ 6 w 452"/>
                  <a:gd name="T55" fmla="*/ 348 h 366"/>
                  <a:gd name="T56" fmla="*/ 36 w 452"/>
                  <a:gd name="T57" fmla="*/ 360 h 366"/>
                  <a:gd name="T58" fmla="*/ 90 w 452"/>
                  <a:gd name="T59" fmla="*/ 366 h 366"/>
                  <a:gd name="T60" fmla="*/ 118 w 452"/>
                  <a:gd name="T61" fmla="*/ 366 h 366"/>
                  <a:gd name="T62" fmla="*/ 176 w 452"/>
                  <a:gd name="T63" fmla="*/ 358 h 366"/>
                  <a:gd name="T64" fmla="*/ 232 w 452"/>
                  <a:gd name="T65" fmla="*/ 340 h 366"/>
                  <a:gd name="T66" fmla="*/ 280 w 452"/>
                  <a:gd name="T67" fmla="*/ 314 h 366"/>
                  <a:gd name="T68" fmla="*/ 300 w 452"/>
                  <a:gd name="T69" fmla="*/ 298 h 366"/>
                  <a:gd name="T70" fmla="*/ 258 w 452"/>
                  <a:gd name="T71" fmla="*/ 292 h 366"/>
                  <a:gd name="T72" fmla="*/ 224 w 452"/>
                  <a:gd name="T73" fmla="*/ 272 h 366"/>
                  <a:gd name="T74" fmla="*/ 202 w 452"/>
                  <a:gd name="T75" fmla="*/ 242 h 366"/>
                  <a:gd name="T76" fmla="*/ 194 w 452"/>
                  <a:gd name="T77" fmla="*/ 204 h 366"/>
                  <a:gd name="T78" fmla="*/ 204 w 452"/>
                  <a:gd name="T79" fmla="*/ 216 h 366"/>
                  <a:gd name="T80" fmla="*/ 230 w 452"/>
                  <a:gd name="T81" fmla="*/ 236 h 366"/>
                  <a:gd name="T82" fmla="*/ 256 w 452"/>
                  <a:gd name="T83" fmla="*/ 248 h 366"/>
                  <a:gd name="T84" fmla="*/ 284 w 452"/>
                  <a:gd name="T85" fmla="*/ 254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2" h="366">
                    <a:moveTo>
                      <a:pt x="298" y="254"/>
                    </a:moveTo>
                    <a:lnTo>
                      <a:pt x="298" y="254"/>
                    </a:lnTo>
                    <a:lnTo>
                      <a:pt x="314" y="254"/>
                    </a:lnTo>
                    <a:lnTo>
                      <a:pt x="330" y="252"/>
                    </a:lnTo>
                    <a:lnTo>
                      <a:pt x="344" y="248"/>
                    </a:lnTo>
                    <a:lnTo>
                      <a:pt x="358" y="242"/>
                    </a:lnTo>
                    <a:lnTo>
                      <a:pt x="372" y="236"/>
                    </a:lnTo>
                    <a:lnTo>
                      <a:pt x="384" y="228"/>
                    </a:lnTo>
                    <a:lnTo>
                      <a:pt x="396" y="220"/>
                    </a:lnTo>
                    <a:lnTo>
                      <a:pt x="406" y="210"/>
                    </a:lnTo>
                    <a:lnTo>
                      <a:pt x="416" y="198"/>
                    </a:lnTo>
                    <a:lnTo>
                      <a:pt x="424" y="186"/>
                    </a:lnTo>
                    <a:lnTo>
                      <a:pt x="432" y="174"/>
                    </a:lnTo>
                    <a:lnTo>
                      <a:pt x="438" y="160"/>
                    </a:lnTo>
                    <a:lnTo>
                      <a:pt x="444" y="148"/>
                    </a:lnTo>
                    <a:lnTo>
                      <a:pt x="448" y="132"/>
                    </a:lnTo>
                    <a:lnTo>
                      <a:pt x="450" y="118"/>
                    </a:lnTo>
                    <a:lnTo>
                      <a:pt x="452" y="102"/>
                    </a:lnTo>
                    <a:lnTo>
                      <a:pt x="452" y="102"/>
                    </a:lnTo>
                    <a:lnTo>
                      <a:pt x="448" y="88"/>
                    </a:lnTo>
                    <a:lnTo>
                      <a:pt x="444" y="70"/>
                    </a:lnTo>
                    <a:lnTo>
                      <a:pt x="438" y="54"/>
                    </a:lnTo>
                    <a:lnTo>
                      <a:pt x="428" y="38"/>
                    </a:lnTo>
                    <a:lnTo>
                      <a:pt x="422" y="30"/>
                    </a:lnTo>
                    <a:lnTo>
                      <a:pt x="414" y="22"/>
                    </a:lnTo>
                    <a:lnTo>
                      <a:pt x="406" y="16"/>
                    </a:lnTo>
                    <a:lnTo>
                      <a:pt x="394" y="10"/>
                    </a:lnTo>
                    <a:lnTo>
                      <a:pt x="384" y="6"/>
                    </a:lnTo>
                    <a:lnTo>
                      <a:pt x="370" y="2"/>
                    </a:lnTo>
                    <a:lnTo>
                      <a:pt x="356" y="0"/>
                    </a:lnTo>
                    <a:lnTo>
                      <a:pt x="338" y="0"/>
                    </a:lnTo>
                    <a:lnTo>
                      <a:pt x="338" y="0"/>
                    </a:lnTo>
                    <a:lnTo>
                      <a:pt x="320" y="0"/>
                    </a:lnTo>
                    <a:lnTo>
                      <a:pt x="304" y="6"/>
                    </a:lnTo>
                    <a:lnTo>
                      <a:pt x="288" y="14"/>
                    </a:lnTo>
                    <a:lnTo>
                      <a:pt x="272" y="24"/>
                    </a:lnTo>
                    <a:lnTo>
                      <a:pt x="258" y="36"/>
                    </a:lnTo>
                    <a:lnTo>
                      <a:pt x="246" y="50"/>
                    </a:lnTo>
                    <a:lnTo>
                      <a:pt x="234" y="66"/>
                    </a:lnTo>
                    <a:lnTo>
                      <a:pt x="222" y="82"/>
                    </a:lnTo>
                    <a:lnTo>
                      <a:pt x="198" y="120"/>
                    </a:lnTo>
                    <a:lnTo>
                      <a:pt x="174" y="160"/>
                    </a:lnTo>
                    <a:lnTo>
                      <a:pt x="148" y="198"/>
                    </a:lnTo>
                    <a:lnTo>
                      <a:pt x="134" y="218"/>
                    </a:lnTo>
                    <a:lnTo>
                      <a:pt x="118" y="234"/>
                    </a:lnTo>
                    <a:lnTo>
                      <a:pt x="118" y="234"/>
                    </a:lnTo>
                    <a:lnTo>
                      <a:pt x="114" y="254"/>
                    </a:lnTo>
                    <a:lnTo>
                      <a:pt x="106" y="272"/>
                    </a:lnTo>
                    <a:lnTo>
                      <a:pt x="94" y="290"/>
                    </a:lnTo>
                    <a:lnTo>
                      <a:pt x="80" y="306"/>
                    </a:lnTo>
                    <a:lnTo>
                      <a:pt x="64" y="318"/>
                    </a:lnTo>
                    <a:lnTo>
                      <a:pt x="44" y="330"/>
                    </a:lnTo>
                    <a:lnTo>
                      <a:pt x="22" y="338"/>
                    </a:lnTo>
                    <a:lnTo>
                      <a:pt x="0" y="342"/>
                    </a:lnTo>
                    <a:lnTo>
                      <a:pt x="0" y="342"/>
                    </a:lnTo>
                    <a:lnTo>
                      <a:pt x="6" y="348"/>
                    </a:lnTo>
                    <a:lnTo>
                      <a:pt x="14" y="354"/>
                    </a:lnTo>
                    <a:lnTo>
                      <a:pt x="36" y="360"/>
                    </a:lnTo>
                    <a:lnTo>
                      <a:pt x="60" y="366"/>
                    </a:lnTo>
                    <a:lnTo>
                      <a:pt x="90" y="366"/>
                    </a:lnTo>
                    <a:lnTo>
                      <a:pt x="90" y="366"/>
                    </a:lnTo>
                    <a:lnTo>
                      <a:pt x="118" y="366"/>
                    </a:lnTo>
                    <a:lnTo>
                      <a:pt x="146" y="362"/>
                    </a:lnTo>
                    <a:lnTo>
                      <a:pt x="176" y="358"/>
                    </a:lnTo>
                    <a:lnTo>
                      <a:pt x="204" y="350"/>
                    </a:lnTo>
                    <a:lnTo>
                      <a:pt x="232" y="340"/>
                    </a:lnTo>
                    <a:lnTo>
                      <a:pt x="258" y="328"/>
                    </a:lnTo>
                    <a:lnTo>
                      <a:pt x="280" y="314"/>
                    </a:lnTo>
                    <a:lnTo>
                      <a:pt x="300" y="298"/>
                    </a:lnTo>
                    <a:lnTo>
                      <a:pt x="300" y="298"/>
                    </a:lnTo>
                    <a:lnTo>
                      <a:pt x="278" y="296"/>
                    </a:lnTo>
                    <a:lnTo>
                      <a:pt x="258" y="292"/>
                    </a:lnTo>
                    <a:lnTo>
                      <a:pt x="240" y="284"/>
                    </a:lnTo>
                    <a:lnTo>
                      <a:pt x="224" y="272"/>
                    </a:lnTo>
                    <a:lnTo>
                      <a:pt x="212" y="258"/>
                    </a:lnTo>
                    <a:lnTo>
                      <a:pt x="202" y="242"/>
                    </a:lnTo>
                    <a:lnTo>
                      <a:pt x="196" y="224"/>
                    </a:lnTo>
                    <a:lnTo>
                      <a:pt x="194" y="204"/>
                    </a:lnTo>
                    <a:lnTo>
                      <a:pt x="194" y="204"/>
                    </a:lnTo>
                    <a:lnTo>
                      <a:pt x="204" y="216"/>
                    </a:lnTo>
                    <a:lnTo>
                      <a:pt x="216" y="228"/>
                    </a:lnTo>
                    <a:lnTo>
                      <a:pt x="230" y="236"/>
                    </a:lnTo>
                    <a:lnTo>
                      <a:pt x="242" y="242"/>
                    </a:lnTo>
                    <a:lnTo>
                      <a:pt x="256" y="248"/>
                    </a:lnTo>
                    <a:lnTo>
                      <a:pt x="270" y="252"/>
                    </a:lnTo>
                    <a:lnTo>
                      <a:pt x="284" y="254"/>
                    </a:lnTo>
                    <a:lnTo>
                      <a:pt x="298" y="254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22">
                <a:extLst>
                  <a:ext uri="{FF2B5EF4-FFF2-40B4-BE49-F238E27FC236}">
                    <a16:creationId xmlns:a16="http://schemas.microsoft.com/office/drawing/2014/main" id="{A0E4DFFA-02CF-4B61-BF87-7053D292C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137" y="2832894"/>
                <a:ext cx="1089025" cy="917575"/>
              </a:xfrm>
              <a:custGeom>
                <a:avLst/>
                <a:gdLst>
                  <a:gd name="T0" fmla="*/ 684 w 686"/>
                  <a:gd name="T1" fmla="*/ 362 h 578"/>
                  <a:gd name="T2" fmla="*/ 676 w 686"/>
                  <a:gd name="T3" fmla="*/ 292 h 578"/>
                  <a:gd name="T4" fmla="*/ 652 w 686"/>
                  <a:gd name="T5" fmla="*/ 230 h 578"/>
                  <a:gd name="T6" fmla="*/ 614 w 686"/>
                  <a:gd name="T7" fmla="*/ 172 h 578"/>
                  <a:gd name="T8" fmla="*/ 566 w 686"/>
                  <a:gd name="T9" fmla="*/ 120 h 578"/>
                  <a:gd name="T10" fmla="*/ 546 w 686"/>
                  <a:gd name="T11" fmla="*/ 102 h 578"/>
                  <a:gd name="T12" fmla="*/ 502 w 686"/>
                  <a:gd name="T13" fmla="*/ 70 h 578"/>
                  <a:gd name="T14" fmla="*/ 432 w 686"/>
                  <a:gd name="T15" fmla="*/ 28 h 578"/>
                  <a:gd name="T16" fmla="*/ 382 w 686"/>
                  <a:gd name="T17" fmla="*/ 6 h 578"/>
                  <a:gd name="T18" fmla="*/ 366 w 686"/>
                  <a:gd name="T19" fmla="*/ 0 h 578"/>
                  <a:gd name="T20" fmla="*/ 366 w 686"/>
                  <a:gd name="T21" fmla="*/ 0 h 578"/>
                  <a:gd name="T22" fmla="*/ 328 w 686"/>
                  <a:gd name="T23" fmla="*/ 36 h 578"/>
                  <a:gd name="T24" fmla="*/ 274 w 686"/>
                  <a:gd name="T25" fmla="*/ 70 h 578"/>
                  <a:gd name="T26" fmla="*/ 152 w 686"/>
                  <a:gd name="T27" fmla="*/ 148 h 578"/>
                  <a:gd name="T28" fmla="*/ 94 w 686"/>
                  <a:gd name="T29" fmla="*/ 194 h 578"/>
                  <a:gd name="T30" fmla="*/ 46 w 686"/>
                  <a:gd name="T31" fmla="*/ 246 h 578"/>
                  <a:gd name="T32" fmla="*/ 26 w 686"/>
                  <a:gd name="T33" fmla="*/ 274 h 578"/>
                  <a:gd name="T34" fmla="*/ 12 w 686"/>
                  <a:gd name="T35" fmla="*/ 306 h 578"/>
                  <a:gd name="T36" fmla="*/ 4 w 686"/>
                  <a:gd name="T37" fmla="*/ 340 h 578"/>
                  <a:gd name="T38" fmla="*/ 0 w 686"/>
                  <a:gd name="T39" fmla="*/ 378 h 578"/>
                  <a:gd name="T40" fmla="*/ 2 w 686"/>
                  <a:gd name="T41" fmla="*/ 408 h 578"/>
                  <a:gd name="T42" fmla="*/ 20 w 686"/>
                  <a:gd name="T43" fmla="*/ 464 h 578"/>
                  <a:gd name="T44" fmla="*/ 52 w 686"/>
                  <a:gd name="T45" fmla="*/ 514 h 578"/>
                  <a:gd name="T46" fmla="*/ 98 w 686"/>
                  <a:gd name="T47" fmla="*/ 550 h 578"/>
                  <a:gd name="T48" fmla="*/ 126 w 686"/>
                  <a:gd name="T49" fmla="*/ 564 h 578"/>
                  <a:gd name="T50" fmla="*/ 158 w 686"/>
                  <a:gd name="T51" fmla="*/ 574 h 578"/>
                  <a:gd name="T52" fmla="*/ 190 w 686"/>
                  <a:gd name="T53" fmla="*/ 578 h 578"/>
                  <a:gd name="T54" fmla="*/ 224 w 686"/>
                  <a:gd name="T55" fmla="*/ 574 h 578"/>
                  <a:gd name="T56" fmla="*/ 256 w 686"/>
                  <a:gd name="T57" fmla="*/ 566 h 578"/>
                  <a:gd name="T58" fmla="*/ 284 w 686"/>
                  <a:gd name="T59" fmla="*/ 556 h 578"/>
                  <a:gd name="T60" fmla="*/ 332 w 686"/>
                  <a:gd name="T61" fmla="*/ 522 h 578"/>
                  <a:gd name="T62" fmla="*/ 352 w 686"/>
                  <a:gd name="T63" fmla="*/ 500 h 578"/>
                  <a:gd name="T64" fmla="*/ 382 w 686"/>
                  <a:gd name="T65" fmla="*/ 464 h 578"/>
                  <a:gd name="T66" fmla="*/ 432 w 686"/>
                  <a:gd name="T67" fmla="*/ 386 h 578"/>
                  <a:gd name="T68" fmla="*/ 468 w 686"/>
                  <a:gd name="T69" fmla="*/ 332 h 578"/>
                  <a:gd name="T70" fmla="*/ 492 w 686"/>
                  <a:gd name="T71" fmla="*/ 302 h 578"/>
                  <a:gd name="T72" fmla="*/ 522 w 686"/>
                  <a:gd name="T73" fmla="*/ 280 h 578"/>
                  <a:gd name="T74" fmla="*/ 554 w 686"/>
                  <a:gd name="T75" fmla="*/ 266 h 578"/>
                  <a:gd name="T76" fmla="*/ 572 w 686"/>
                  <a:gd name="T77" fmla="*/ 266 h 578"/>
                  <a:gd name="T78" fmla="*/ 604 w 686"/>
                  <a:gd name="T79" fmla="*/ 268 h 578"/>
                  <a:gd name="T80" fmla="*/ 628 w 686"/>
                  <a:gd name="T81" fmla="*/ 276 h 578"/>
                  <a:gd name="T82" fmla="*/ 648 w 686"/>
                  <a:gd name="T83" fmla="*/ 288 h 578"/>
                  <a:gd name="T84" fmla="*/ 662 w 686"/>
                  <a:gd name="T85" fmla="*/ 304 h 578"/>
                  <a:gd name="T86" fmla="*/ 678 w 686"/>
                  <a:gd name="T87" fmla="*/ 336 h 578"/>
                  <a:gd name="T88" fmla="*/ 686 w 686"/>
                  <a:gd name="T89" fmla="*/ 368 h 578"/>
                  <a:gd name="T90" fmla="*/ 684 w 686"/>
                  <a:gd name="T91" fmla="*/ 362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86" h="578">
                    <a:moveTo>
                      <a:pt x="684" y="362"/>
                    </a:moveTo>
                    <a:lnTo>
                      <a:pt x="684" y="362"/>
                    </a:lnTo>
                    <a:lnTo>
                      <a:pt x="682" y="326"/>
                    </a:lnTo>
                    <a:lnTo>
                      <a:pt x="676" y="292"/>
                    </a:lnTo>
                    <a:lnTo>
                      <a:pt x="666" y="260"/>
                    </a:lnTo>
                    <a:lnTo>
                      <a:pt x="652" y="230"/>
                    </a:lnTo>
                    <a:lnTo>
                      <a:pt x="634" y="200"/>
                    </a:lnTo>
                    <a:lnTo>
                      <a:pt x="614" y="172"/>
                    </a:lnTo>
                    <a:lnTo>
                      <a:pt x="592" y="146"/>
                    </a:lnTo>
                    <a:lnTo>
                      <a:pt x="566" y="120"/>
                    </a:lnTo>
                    <a:lnTo>
                      <a:pt x="566" y="120"/>
                    </a:lnTo>
                    <a:lnTo>
                      <a:pt x="546" y="102"/>
                    </a:lnTo>
                    <a:lnTo>
                      <a:pt x="524" y="86"/>
                    </a:lnTo>
                    <a:lnTo>
                      <a:pt x="502" y="70"/>
                    </a:lnTo>
                    <a:lnTo>
                      <a:pt x="480" y="56"/>
                    </a:lnTo>
                    <a:lnTo>
                      <a:pt x="432" y="28"/>
                    </a:lnTo>
                    <a:lnTo>
                      <a:pt x="382" y="6"/>
                    </a:lnTo>
                    <a:lnTo>
                      <a:pt x="382" y="6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48" y="18"/>
                    </a:lnTo>
                    <a:lnTo>
                      <a:pt x="328" y="36"/>
                    </a:lnTo>
                    <a:lnTo>
                      <a:pt x="302" y="54"/>
                    </a:lnTo>
                    <a:lnTo>
                      <a:pt x="274" y="70"/>
                    </a:lnTo>
                    <a:lnTo>
                      <a:pt x="214" y="108"/>
                    </a:lnTo>
                    <a:lnTo>
                      <a:pt x="152" y="148"/>
                    </a:lnTo>
                    <a:lnTo>
                      <a:pt x="122" y="170"/>
                    </a:lnTo>
                    <a:lnTo>
                      <a:pt x="94" y="194"/>
                    </a:lnTo>
                    <a:lnTo>
                      <a:pt x="68" y="218"/>
                    </a:lnTo>
                    <a:lnTo>
                      <a:pt x="46" y="246"/>
                    </a:lnTo>
                    <a:lnTo>
                      <a:pt x="36" y="260"/>
                    </a:lnTo>
                    <a:lnTo>
                      <a:pt x="26" y="274"/>
                    </a:lnTo>
                    <a:lnTo>
                      <a:pt x="18" y="290"/>
                    </a:lnTo>
                    <a:lnTo>
                      <a:pt x="12" y="306"/>
                    </a:lnTo>
                    <a:lnTo>
                      <a:pt x="6" y="322"/>
                    </a:lnTo>
                    <a:lnTo>
                      <a:pt x="4" y="340"/>
                    </a:lnTo>
                    <a:lnTo>
                      <a:pt x="0" y="358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408"/>
                    </a:lnTo>
                    <a:lnTo>
                      <a:pt x="8" y="436"/>
                    </a:lnTo>
                    <a:lnTo>
                      <a:pt x="20" y="464"/>
                    </a:lnTo>
                    <a:lnTo>
                      <a:pt x="34" y="490"/>
                    </a:lnTo>
                    <a:lnTo>
                      <a:pt x="52" y="514"/>
                    </a:lnTo>
                    <a:lnTo>
                      <a:pt x="74" y="534"/>
                    </a:lnTo>
                    <a:lnTo>
                      <a:pt x="98" y="550"/>
                    </a:lnTo>
                    <a:lnTo>
                      <a:pt x="126" y="564"/>
                    </a:lnTo>
                    <a:lnTo>
                      <a:pt x="126" y="564"/>
                    </a:lnTo>
                    <a:lnTo>
                      <a:pt x="142" y="570"/>
                    </a:lnTo>
                    <a:lnTo>
                      <a:pt x="158" y="574"/>
                    </a:lnTo>
                    <a:lnTo>
                      <a:pt x="174" y="576"/>
                    </a:lnTo>
                    <a:lnTo>
                      <a:pt x="190" y="578"/>
                    </a:lnTo>
                    <a:lnTo>
                      <a:pt x="206" y="576"/>
                    </a:lnTo>
                    <a:lnTo>
                      <a:pt x="224" y="574"/>
                    </a:lnTo>
                    <a:lnTo>
                      <a:pt x="240" y="572"/>
                    </a:lnTo>
                    <a:lnTo>
                      <a:pt x="256" y="566"/>
                    </a:lnTo>
                    <a:lnTo>
                      <a:pt x="256" y="566"/>
                    </a:lnTo>
                    <a:lnTo>
                      <a:pt x="284" y="556"/>
                    </a:lnTo>
                    <a:lnTo>
                      <a:pt x="308" y="540"/>
                    </a:lnTo>
                    <a:lnTo>
                      <a:pt x="332" y="522"/>
                    </a:lnTo>
                    <a:lnTo>
                      <a:pt x="352" y="500"/>
                    </a:lnTo>
                    <a:lnTo>
                      <a:pt x="352" y="500"/>
                    </a:lnTo>
                    <a:lnTo>
                      <a:pt x="368" y="484"/>
                    </a:lnTo>
                    <a:lnTo>
                      <a:pt x="382" y="464"/>
                    </a:lnTo>
                    <a:lnTo>
                      <a:pt x="408" y="426"/>
                    </a:lnTo>
                    <a:lnTo>
                      <a:pt x="432" y="386"/>
                    </a:lnTo>
                    <a:lnTo>
                      <a:pt x="456" y="348"/>
                    </a:lnTo>
                    <a:lnTo>
                      <a:pt x="468" y="332"/>
                    </a:lnTo>
                    <a:lnTo>
                      <a:pt x="480" y="316"/>
                    </a:lnTo>
                    <a:lnTo>
                      <a:pt x="492" y="302"/>
                    </a:lnTo>
                    <a:lnTo>
                      <a:pt x="506" y="290"/>
                    </a:lnTo>
                    <a:lnTo>
                      <a:pt x="522" y="280"/>
                    </a:lnTo>
                    <a:lnTo>
                      <a:pt x="538" y="272"/>
                    </a:lnTo>
                    <a:lnTo>
                      <a:pt x="554" y="266"/>
                    </a:lnTo>
                    <a:lnTo>
                      <a:pt x="572" y="266"/>
                    </a:lnTo>
                    <a:lnTo>
                      <a:pt x="572" y="266"/>
                    </a:lnTo>
                    <a:lnTo>
                      <a:pt x="590" y="266"/>
                    </a:lnTo>
                    <a:lnTo>
                      <a:pt x="604" y="268"/>
                    </a:lnTo>
                    <a:lnTo>
                      <a:pt x="618" y="272"/>
                    </a:lnTo>
                    <a:lnTo>
                      <a:pt x="628" y="276"/>
                    </a:lnTo>
                    <a:lnTo>
                      <a:pt x="640" y="282"/>
                    </a:lnTo>
                    <a:lnTo>
                      <a:pt x="648" y="288"/>
                    </a:lnTo>
                    <a:lnTo>
                      <a:pt x="656" y="296"/>
                    </a:lnTo>
                    <a:lnTo>
                      <a:pt x="662" y="304"/>
                    </a:lnTo>
                    <a:lnTo>
                      <a:pt x="672" y="320"/>
                    </a:lnTo>
                    <a:lnTo>
                      <a:pt x="678" y="336"/>
                    </a:lnTo>
                    <a:lnTo>
                      <a:pt x="682" y="354"/>
                    </a:lnTo>
                    <a:lnTo>
                      <a:pt x="686" y="368"/>
                    </a:lnTo>
                    <a:lnTo>
                      <a:pt x="686" y="368"/>
                    </a:lnTo>
                    <a:lnTo>
                      <a:pt x="684" y="36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3" name="Picture 2" descr="Image result for capgemini logo">
              <a:extLst>
                <a:ext uri="{FF2B5EF4-FFF2-40B4-BE49-F238E27FC236}">
                  <a16:creationId xmlns:a16="http://schemas.microsoft.com/office/drawing/2014/main" id="{958E04B1-3D9D-4077-9872-3F5A8DFE383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7700"/>
            <a:stretch/>
          </p:blipFill>
          <p:spPr bwMode="auto">
            <a:xfrm>
              <a:off x="10018875" y="6186024"/>
              <a:ext cx="1617896" cy="4560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A5534E5-0BF3-49C8-B8E8-BBE07923A4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79" y="1"/>
            <a:ext cx="10972800" cy="933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01086D14-344C-417C-81A4-510DADC9DA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40" y="6497949"/>
            <a:ext cx="289477" cy="33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646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NTERCALAI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45ABE99-AEE1-4791-8B53-AEDA06F83956}"/>
              </a:ext>
            </a:extLst>
          </p:cNvPr>
          <p:cNvGrpSpPr/>
          <p:nvPr userDrawn="1"/>
        </p:nvGrpSpPr>
        <p:grpSpPr>
          <a:xfrm>
            <a:off x="10021576" y="6344494"/>
            <a:ext cx="1970079" cy="456076"/>
            <a:chOff x="10018875" y="6186024"/>
            <a:chExt cx="1970079" cy="45607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3E5C634-9F5B-4062-BE5A-01F1401D2183}"/>
                </a:ext>
              </a:extLst>
            </p:cNvPr>
            <p:cNvGrpSpPr/>
            <p:nvPr userDrawn="1"/>
          </p:nvGrpSpPr>
          <p:grpSpPr>
            <a:xfrm>
              <a:off x="11642878" y="6197819"/>
              <a:ext cx="346076" cy="318832"/>
              <a:chOff x="5164137" y="2832894"/>
              <a:chExt cx="1089025" cy="1003300"/>
            </a:xfrm>
            <a:solidFill>
              <a:schemeClr val="bg1"/>
            </a:solidFill>
          </p:grpSpPr>
          <p:sp>
            <p:nvSpPr>
              <p:cNvPr id="12" name="Freeform 20">
                <a:extLst>
                  <a:ext uri="{FF2B5EF4-FFF2-40B4-BE49-F238E27FC236}">
                    <a16:creationId xmlns:a16="http://schemas.microsoft.com/office/drawing/2014/main" id="{3C0734BA-E5BA-44F1-B9E4-816BBBA89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5612" y="3255169"/>
                <a:ext cx="717550" cy="581025"/>
              </a:xfrm>
              <a:custGeom>
                <a:avLst/>
                <a:gdLst>
                  <a:gd name="T0" fmla="*/ 298 w 452"/>
                  <a:gd name="T1" fmla="*/ 254 h 366"/>
                  <a:gd name="T2" fmla="*/ 330 w 452"/>
                  <a:gd name="T3" fmla="*/ 252 h 366"/>
                  <a:gd name="T4" fmla="*/ 358 w 452"/>
                  <a:gd name="T5" fmla="*/ 242 h 366"/>
                  <a:gd name="T6" fmla="*/ 384 w 452"/>
                  <a:gd name="T7" fmla="*/ 228 h 366"/>
                  <a:gd name="T8" fmla="*/ 406 w 452"/>
                  <a:gd name="T9" fmla="*/ 210 h 366"/>
                  <a:gd name="T10" fmla="*/ 424 w 452"/>
                  <a:gd name="T11" fmla="*/ 186 h 366"/>
                  <a:gd name="T12" fmla="*/ 438 w 452"/>
                  <a:gd name="T13" fmla="*/ 160 h 366"/>
                  <a:gd name="T14" fmla="*/ 448 w 452"/>
                  <a:gd name="T15" fmla="*/ 132 h 366"/>
                  <a:gd name="T16" fmla="*/ 452 w 452"/>
                  <a:gd name="T17" fmla="*/ 102 h 366"/>
                  <a:gd name="T18" fmla="*/ 448 w 452"/>
                  <a:gd name="T19" fmla="*/ 88 h 366"/>
                  <a:gd name="T20" fmla="*/ 438 w 452"/>
                  <a:gd name="T21" fmla="*/ 54 h 366"/>
                  <a:gd name="T22" fmla="*/ 422 w 452"/>
                  <a:gd name="T23" fmla="*/ 30 h 366"/>
                  <a:gd name="T24" fmla="*/ 406 w 452"/>
                  <a:gd name="T25" fmla="*/ 16 h 366"/>
                  <a:gd name="T26" fmla="*/ 384 w 452"/>
                  <a:gd name="T27" fmla="*/ 6 h 366"/>
                  <a:gd name="T28" fmla="*/ 356 w 452"/>
                  <a:gd name="T29" fmla="*/ 0 h 366"/>
                  <a:gd name="T30" fmla="*/ 338 w 452"/>
                  <a:gd name="T31" fmla="*/ 0 h 366"/>
                  <a:gd name="T32" fmla="*/ 304 w 452"/>
                  <a:gd name="T33" fmla="*/ 6 h 366"/>
                  <a:gd name="T34" fmla="*/ 272 w 452"/>
                  <a:gd name="T35" fmla="*/ 24 h 366"/>
                  <a:gd name="T36" fmla="*/ 246 w 452"/>
                  <a:gd name="T37" fmla="*/ 50 h 366"/>
                  <a:gd name="T38" fmla="*/ 222 w 452"/>
                  <a:gd name="T39" fmla="*/ 82 h 366"/>
                  <a:gd name="T40" fmla="*/ 174 w 452"/>
                  <a:gd name="T41" fmla="*/ 160 h 366"/>
                  <a:gd name="T42" fmla="*/ 134 w 452"/>
                  <a:gd name="T43" fmla="*/ 218 h 366"/>
                  <a:gd name="T44" fmla="*/ 118 w 452"/>
                  <a:gd name="T45" fmla="*/ 234 h 366"/>
                  <a:gd name="T46" fmla="*/ 106 w 452"/>
                  <a:gd name="T47" fmla="*/ 272 h 366"/>
                  <a:gd name="T48" fmla="*/ 80 w 452"/>
                  <a:gd name="T49" fmla="*/ 306 h 366"/>
                  <a:gd name="T50" fmla="*/ 44 w 452"/>
                  <a:gd name="T51" fmla="*/ 330 h 366"/>
                  <a:gd name="T52" fmla="*/ 0 w 452"/>
                  <a:gd name="T53" fmla="*/ 342 h 366"/>
                  <a:gd name="T54" fmla="*/ 6 w 452"/>
                  <a:gd name="T55" fmla="*/ 348 h 366"/>
                  <a:gd name="T56" fmla="*/ 36 w 452"/>
                  <a:gd name="T57" fmla="*/ 360 h 366"/>
                  <a:gd name="T58" fmla="*/ 90 w 452"/>
                  <a:gd name="T59" fmla="*/ 366 h 366"/>
                  <a:gd name="T60" fmla="*/ 118 w 452"/>
                  <a:gd name="T61" fmla="*/ 366 h 366"/>
                  <a:gd name="T62" fmla="*/ 176 w 452"/>
                  <a:gd name="T63" fmla="*/ 358 h 366"/>
                  <a:gd name="T64" fmla="*/ 232 w 452"/>
                  <a:gd name="T65" fmla="*/ 340 h 366"/>
                  <a:gd name="T66" fmla="*/ 280 w 452"/>
                  <a:gd name="T67" fmla="*/ 314 h 366"/>
                  <a:gd name="T68" fmla="*/ 300 w 452"/>
                  <a:gd name="T69" fmla="*/ 298 h 366"/>
                  <a:gd name="T70" fmla="*/ 258 w 452"/>
                  <a:gd name="T71" fmla="*/ 292 h 366"/>
                  <a:gd name="T72" fmla="*/ 224 w 452"/>
                  <a:gd name="T73" fmla="*/ 272 h 366"/>
                  <a:gd name="T74" fmla="*/ 202 w 452"/>
                  <a:gd name="T75" fmla="*/ 242 h 366"/>
                  <a:gd name="T76" fmla="*/ 194 w 452"/>
                  <a:gd name="T77" fmla="*/ 204 h 366"/>
                  <a:gd name="T78" fmla="*/ 204 w 452"/>
                  <a:gd name="T79" fmla="*/ 216 h 366"/>
                  <a:gd name="T80" fmla="*/ 230 w 452"/>
                  <a:gd name="T81" fmla="*/ 236 h 366"/>
                  <a:gd name="T82" fmla="*/ 256 w 452"/>
                  <a:gd name="T83" fmla="*/ 248 h 366"/>
                  <a:gd name="T84" fmla="*/ 284 w 452"/>
                  <a:gd name="T85" fmla="*/ 254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2" h="366">
                    <a:moveTo>
                      <a:pt x="298" y="254"/>
                    </a:moveTo>
                    <a:lnTo>
                      <a:pt x="298" y="254"/>
                    </a:lnTo>
                    <a:lnTo>
                      <a:pt x="314" y="254"/>
                    </a:lnTo>
                    <a:lnTo>
                      <a:pt x="330" y="252"/>
                    </a:lnTo>
                    <a:lnTo>
                      <a:pt x="344" y="248"/>
                    </a:lnTo>
                    <a:lnTo>
                      <a:pt x="358" y="242"/>
                    </a:lnTo>
                    <a:lnTo>
                      <a:pt x="372" y="236"/>
                    </a:lnTo>
                    <a:lnTo>
                      <a:pt x="384" y="228"/>
                    </a:lnTo>
                    <a:lnTo>
                      <a:pt x="396" y="220"/>
                    </a:lnTo>
                    <a:lnTo>
                      <a:pt x="406" y="210"/>
                    </a:lnTo>
                    <a:lnTo>
                      <a:pt x="416" y="198"/>
                    </a:lnTo>
                    <a:lnTo>
                      <a:pt x="424" y="186"/>
                    </a:lnTo>
                    <a:lnTo>
                      <a:pt x="432" y="174"/>
                    </a:lnTo>
                    <a:lnTo>
                      <a:pt x="438" y="160"/>
                    </a:lnTo>
                    <a:lnTo>
                      <a:pt x="444" y="148"/>
                    </a:lnTo>
                    <a:lnTo>
                      <a:pt x="448" y="132"/>
                    </a:lnTo>
                    <a:lnTo>
                      <a:pt x="450" y="118"/>
                    </a:lnTo>
                    <a:lnTo>
                      <a:pt x="452" y="102"/>
                    </a:lnTo>
                    <a:lnTo>
                      <a:pt x="452" y="102"/>
                    </a:lnTo>
                    <a:lnTo>
                      <a:pt x="448" y="88"/>
                    </a:lnTo>
                    <a:lnTo>
                      <a:pt x="444" y="70"/>
                    </a:lnTo>
                    <a:lnTo>
                      <a:pt x="438" y="54"/>
                    </a:lnTo>
                    <a:lnTo>
                      <a:pt x="428" y="38"/>
                    </a:lnTo>
                    <a:lnTo>
                      <a:pt x="422" y="30"/>
                    </a:lnTo>
                    <a:lnTo>
                      <a:pt x="414" y="22"/>
                    </a:lnTo>
                    <a:lnTo>
                      <a:pt x="406" y="16"/>
                    </a:lnTo>
                    <a:lnTo>
                      <a:pt x="394" y="10"/>
                    </a:lnTo>
                    <a:lnTo>
                      <a:pt x="384" y="6"/>
                    </a:lnTo>
                    <a:lnTo>
                      <a:pt x="370" y="2"/>
                    </a:lnTo>
                    <a:lnTo>
                      <a:pt x="356" y="0"/>
                    </a:lnTo>
                    <a:lnTo>
                      <a:pt x="338" y="0"/>
                    </a:lnTo>
                    <a:lnTo>
                      <a:pt x="338" y="0"/>
                    </a:lnTo>
                    <a:lnTo>
                      <a:pt x="320" y="0"/>
                    </a:lnTo>
                    <a:lnTo>
                      <a:pt x="304" y="6"/>
                    </a:lnTo>
                    <a:lnTo>
                      <a:pt x="288" y="14"/>
                    </a:lnTo>
                    <a:lnTo>
                      <a:pt x="272" y="24"/>
                    </a:lnTo>
                    <a:lnTo>
                      <a:pt x="258" y="36"/>
                    </a:lnTo>
                    <a:lnTo>
                      <a:pt x="246" y="50"/>
                    </a:lnTo>
                    <a:lnTo>
                      <a:pt x="234" y="66"/>
                    </a:lnTo>
                    <a:lnTo>
                      <a:pt x="222" y="82"/>
                    </a:lnTo>
                    <a:lnTo>
                      <a:pt x="198" y="120"/>
                    </a:lnTo>
                    <a:lnTo>
                      <a:pt x="174" y="160"/>
                    </a:lnTo>
                    <a:lnTo>
                      <a:pt x="148" y="198"/>
                    </a:lnTo>
                    <a:lnTo>
                      <a:pt x="134" y="218"/>
                    </a:lnTo>
                    <a:lnTo>
                      <a:pt x="118" y="234"/>
                    </a:lnTo>
                    <a:lnTo>
                      <a:pt x="118" y="234"/>
                    </a:lnTo>
                    <a:lnTo>
                      <a:pt x="114" y="254"/>
                    </a:lnTo>
                    <a:lnTo>
                      <a:pt x="106" y="272"/>
                    </a:lnTo>
                    <a:lnTo>
                      <a:pt x="94" y="290"/>
                    </a:lnTo>
                    <a:lnTo>
                      <a:pt x="80" y="306"/>
                    </a:lnTo>
                    <a:lnTo>
                      <a:pt x="64" y="318"/>
                    </a:lnTo>
                    <a:lnTo>
                      <a:pt x="44" y="330"/>
                    </a:lnTo>
                    <a:lnTo>
                      <a:pt x="22" y="338"/>
                    </a:lnTo>
                    <a:lnTo>
                      <a:pt x="0" y="342"/>
                    </a:lnTo>
                    <a:lnTo>
                      <a:pt x="0" y="342"/>
                    </a:lnTo>
                    <a:lnTo>
                      <a:pt x="6" y="348"/>
                    </a:lnTo>
                    <a:lnTo>
                      <a:pt x="14" y="354"/>
                    </a:lnTo>
                    <a:lnTo>
                      <a:pt x="36" y="360"/>
                    </a:lnTo>
                    <a:lnTo>
                      <a:pt x="60" y="366"/>
                    </a:lnTo>
                    <a:lnTo>
                      <a:pt x="90" y="366"/>
                    </a:lnTo>
                    <a:lnTo>
                      <a:pt x="90" y="366"/>
                    </a:lnTo>
                    <a:lnTo>
                      <a:pt x="118" y="366"/>
                    </a:lnTo>
                    <a:lnTo>
                      <a:pt x="146" y="362"/>
                    </a:lnTo>
                    <a:lnTo>
                      <a:pt x="176" y="358"/>
                    </a:lnTo>
                    <a:lnTo>
                      <a:pt x="204" y="350"/>
                    </a:lnTo>
                    <a:lnTo>
                      <a:pt x="232" y="340"/>
                    </a:lnTo>
                    <a:lnTo>
                      <a:pt x="258" y="328"/>
                    </a:lnTo>
                    <a:lnTo>
                      <a:pt x="280" y="314"/>
                    </a:lnTo>
                    <a:lnTo>
                      <a:pt x="300" y="298"/>
                    </a:lnTo>
                    <a:lnTo>
                      <a:pt x="300" y="298"/>
                    </a:lnTo>
                    <a:lnTo>
                      <a:pt x="278" y="296"/>
                    </a:lnTo>
                    <a:lnTo>
                      <a:pt x="258" y="292"/>
                    </a:lnTo>
                    <a:lnTo>
                      <a:pt x="240" y="284"/>
                    </a:lnTo>
                    <a:lnTo>
                      <a:pt x="224" y="272"/>
                    </a:lnTo>
                    <a:lnTo>
                      <a:pt x="212" y="258"/>
                    </a:lnTo>
                    <a:lnTo>
                      <a:pt x="202" y="242"/>
                    </a:lnTo>
                    <a:lnTo>
                      <a:pt x="196" y="224"/>
                    </a:lnTo>
                    <a:lnTo>
                      <a:pt x="194" y="204"/>
                    </a:lnTo>
                    <a:lnTo>
                      <a:pt x="194" y="204"/>
                    </a:lnTo>
                    <a:lnTo>
                      <a:pt x="204" y="216"/>
                    </a:lnTo>
                    <a:lnTo>
                      <a:pt x="216" y="228"/>
                    </a:lnTo>
                    <a:lnTo>
                      <a:pt x="230" y="236"/>
                    </a:lnTo>
                    <a:lnTo>
                      <a:pt x="242" y="242"/>
                    </a:lnTo>
                    <a:lnTo>
                      <a:pt x="256" y="248"/>
                    </a:lnTo>
                    <a:lnTo>
                      <a:pt x="270" y="252"/>
                    </a:lnTo>
                    <a:lnTo>
                      <a:pt x="284" y="254"/>
                    </a:lnTo>
                    <a:lnTo>
                      <a:pt x="298" y="254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22">
                <a:extLst>
                  <a:ext uri="{FF2B5EF4-FFF2-40B4-BE49-F238E27FC236}">
                    <a16:creationId xmlns:a16="http://schemas.microsoft.com/office/drawing/2014/main" id="{97FA3A29-21CD-40C2-B024-F3C151B9D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137" y="2832894"/>
                <a:ext cx="1089025" cy="917575"/>
              </a:xfrm>
              <a:custGeom>
                <a:avLst/>
                <a:gdLst>
                  <a:gd name="T0" fmla="*/ 684 w 686"/>
                  <a:gd name="T1" fmla="*/ 362 h 578"/>
                  <a:gd name="T2" fmla="*/ 676 w 686"/>
                  <a:gd name="T3" fmla="*/ 292 h 578"/>
                  <a:gd name="T4" fmla="*/ 652 w 686"/>
                  <a:gd name="T5" fmla="*/ 230 h 578"/>
                  <a:gd name="T6" fmla="*/ 614 w 686"/>
                  <a:gd name="T7" fmla="*/ 172 h 578"/>
                  <a:gd name="T8" fmla="*/ 566 w 686"/>
                  <a:gd name="T9" fmla="*/ 120 h 578"/>
                  <a:gd name="T10" fmla="*/ 546 w 686"/>
                  <a:gd name="T11" fmla="*/ 102 h 578"/>
                  <a:gd name="T12" fmla="*/ 502 w 686"/>
                  <a:gd name="T13" fmla="*/ 70 h 578"/>
                  <a:gd name="T14" fmla="*/ 432 w 686"/>
                  <a:gd name="T15" fmla="*/ 28 h 578"/>
                  <a:gd name="T16" fmla="*/ 382 w 686"/>
                  <a:gd name="T17" fmla="*/ 6 h 578"/>
                  <a:gd name="T18" fmla="*/ 366 w 686"/>
                  <a:gd name="T19" fmla="*/ 0 h 578"/>
                  <a:gd name="T20" fmla="*/ 366 w 686"/>
                  <a:gd name="T21" fmla="*/ 0 h 578"/>
                  <a:gd name="T22" fmla="*/ 328 w 686"/>
                  <a:gd name="T23" fmla="*/ 36 h 578"/>
                  <a:gd name="T24" fmla="*/ 274 w 686"/>
                  <a:gd name="T25" fmla="*/ 70 h 578"/>
                  <a:gd name="T26" fmla="*/ 152 w 686"/>
                  <a:gd name="T27" fmla="*/ 148 h 578"/>
                  <a:gd name="T28" fmla="*/ 94 w 686"/>
                  <a:gd name="T29" fmla="*/ 194 h 578"/>
                  <a:gd name="T30" fmla="*/ 46 w 686"/>
                  <a:gd name="T31" fmla="*/ 246 h 578"/>
                  <a:gd name="T32" fmla="*/ 26 w 686"/>
                  <a:gd name="T33" fmla="*/ 274 h 578"/>
                  <a:gd name="T34" fmla="*/ 12 w 686"/>
                  <a:gd name="T35" fmla="*/ 306 h 578"/>
                  <a:gd name="T36" fmla="*/ 4 w 686"/>
                  <a:gd name="T37" fmla="*/ 340 h 578"/>
                  <a:gd name="T38" fmla="*/ 0 w 686"/>
                  <a:gd name="T39" fmla="*/ 378 h 578"/>
                  <a:gd name="T40" fmla="*/ 2 w 686"/>
                  <a:gd name="T41" fmla="*/ 408 h 578"/>
                  <a:gd name="T42" fmla="*/ 20 w 686"/>
                  <a:gd name="T43" fmla="*/ 464 h 578"/>
                  <a:gd name="T44" fmla="*/ 52 w 686"/>
                  <a:gd name="T45" fmla="*/ 514 h 578"/>
                  <a:gd name="T46" fmla="*/ 98 w 686"/>
                  <a:gd name="T47" fmla="*/ 550 h 578"/>
                  <a:gd name="T48" fmla="*/ 126 w 686"/>
                  <a:gd name="T49" fmla="*/ 564 h 578"/>
                  <a:gd name="T50" fmla="*/ 158 w 686"/>
                  <a:gd name="T51" fmla="*/ 574 h 578"/>
                  <a:gd name="T52" fmla="*/ 190 w 686"/>
                  <a:gd name="T53" fmla="*/ 578 h 578"/>
                  <a:gd name="T54" fmla="*/ 224 w 686"/>
                  <a:gd name="T55" fmla="*/ 574 h 578"/>
                  <a:gd name="T56" fmla="*/ 256 w 686"/>
                  <a:gd name="T57" fmla="*/ 566 h 578"/>
                  <a:gd name="T58" fmla="*/ 284 w 686"/>
                  <a:gd name="T59" fmla="*/ 556 h 578"/>
                  <a:gd name="T60" fmla="*/ 332 w 686"/>
                  <a:gd name="T61" fmla="*/ 522 h 578"/>
                  <a:gd name="T62" fmla="*/ 352 w 686"/>
                  <a:gd name="T63" fmla="*/ 500 h 578"/>
                  <a:gd name="T64" fmla="*/ 382 w 686"/>
                  <a:gd name="T65" fmla="*/ 464 h 578"/>
                  <a:gd name="T66" fmla="*/ 432 w 686"/>
                  <a:gd name="T67" fmla="*/ 386 h 578"/>
                  <a:gd name="T68" fmla="*/ 468 w 686"/>
                  <a:gd name="T69" fmla="*/ 332 h 578"/>
                  <a:gd name="T70" fmla="*/ 492 w 686"/>
                  <a:gd name="T71" fmla="*/ 302 h 578"/>
                  <a:gd name="T72" fmla="*/ 522 w 686"/>
                  <a:gd name="T73" fmla="*/ 280 h 578"/>
                  <a:gd name="T74" fmla="*/ 554 w 686"/>
                  <a:gd name="T75" fmla="*/ 266 h 578"/>
                  <a:gd name="T76" fmla="*/ 572 w 686"/>
                  <a:gd name="T77" fmla="*/ 266 h 578"/>
                  <a:gd name="T78" fmla="*/ 604 w 686"/>
                  <a:gd name="T79" fmla="*/ 268 h 578"/>
                  <a:gd name="T80" fmla="*/ 628 w 686"/>
                  <a:gd name="T81" fmla="*/ 276 h 578"/>
                  <a:gd name="T82" fmla="*/ 648 w 686"/>
                  <a:gd name="T83" fmla="*/ 288 h 578"/>
                  <a:gd name="T84" fmla="*/ 662 w 686"/>
                  <a:gd name="T85" fmla="*/ 304 h 578"/>
                  <a:gd name="T86" fmla="*/ 678 w 686"/>
                  <a:gd name="T87" fmla="*/ 336 h 578"/>
                  <a:gd name="T88" fmla="*/ 686 w 686"/>
                  <a:gd name="T89" fmla="*/ 368 h 578"/>
                  <a:gd name="T90" fmla="*/ 684 w 686"/>
                  <a:gd name="T91" fmla="*/ 362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86" h="578">
                    <a:moveTo>
                      <a:pt x="684" y="362"/>
                    </a:moveTo>
                    <a:lnTo>
                      <a:pt x="684" y="362"/>
                    </a:lnTo>
                    <a:lnTo>
                      <a:pt x="682" y="326"/>
                    </a:lnTo>
                    <a:lnTo>
                      <a:pt x="676" y="292"/>
                    </a:lnTo>
                    <a:lnTo>
                      <a:pt x="666" y="260"/>
                    </a:lnTo>
                    <a:lnTo>
                      <a:pt x="652" y="230"/>
                    </a:lnTo>
                    <a:lnTo>
                      <a:pt x="634" y="200"/>
                    </a:lnTo>
                    <a:lnTo>
                      <a:pt x="614" y="172"/>
                    </a:lnTo>
                    <a:lnTo>
                      <a:pt x="592" y="146"/>
                    </a:lnTo>
                    <a:lnTo>
                      <a:pt x="566" y="120"/>
                    </a:lnTo>
                    <a:lnTo>
                      <a:pt x="566" y="120"/>
                    </a:lnTo>
                    <a:lnTo>
                      <a:pt x="546" y="102"/>
                    </a:lnTo>
                    <a:lnTo>
                      <a:pt x="524" y="86"/>
                    </a:lnTo>
                    <a:lnTo>
                      <a:pt x="502" y="70"/>
                    </a:lnTo>
                    <a:lnTo>
                      <a:pt x="480" y="56"/>
                    </a:lnTo>
                    <a:lnTo>
                      <a:pt x="432" y="28"/>
                    </a:lnTo>
                    <a:lnTo>
                      <a:pt x="382" y="6"/>
                    </a:lnTo>
                    <a:lnTo>
                      <a:pt x="382" y="6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48" y="18"/>
                    </a:lnTo>
                    <a:lnTo>
                      <a:pt x="328" y="36"/>
                    </a:lnTo>
                    <a:lnTo>
                      <a:pt x="302" y="54"/>
                    </a:lnTo>
                    <a:lnTo>
                      <a:pt x="274" y="70"/>
                    </a:lnTo>
                    <a:lnTo>
                      <a:pt x="214" y="108"/>
                    </a:lnTo>
                    <a:lnTo>
                      <a:pt x="152" y="148"/>
                    </a:lnTo>
                    <a:lnTo>
                      <a:pt x="122" y="170"/>
                    </a:lnTo>
                    <a:lnTo>
                      <a:pt x="94" y="194"/>
                    </a:lnTo>
                    <a:lnTo>
                      <a:pt x="68" y="218"/>
                    </a:lnTo>
                    <a:lnTo>
                      <a:pt x="46" y="246"/>
                    </a:lnTo>
                    <a:lnTo>
                      <a:pt x="36" y="260"/>
                    </a:lnTo>
                    <a:lnTo>
                      <a:pt x="26" y="274"/>
                    </a:lnTo>
                    <a:lnTo>
                      <a:pt x="18" y="290"/>
                    </a:lnTo>
                    <a:lnTo>
                      <a:pt x="12" y="306"/>
                    </a:lnTo>
                    <a:lnTo>
                      <a:pt x="6" y="322"/>
                    </a:lnTo>
                    <a:lnTo>
                      <a:pt x="4" y="340"/>
                    </a:lnTo>
                    <a:lnTo>
                      <a:pt x="0" y="358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408"/>
                    </a:lnTo>
                    <a:lnTo>
                      <a:pt x="8" y="436"/>
                    </a:lnTo>
                    <a:lnTo>
                      <a:pt x="20" y="464"/>
                    </a:lnTo>
                    <a:lnTo>
                      <a:pt x="34" y="490"/>
                    </a:lnTo>
                    <a:lnTo>
                      <a:pt x="52" y="514"/>
                    </a:lnTo>
                    <a:lnTo>
                      <a:pt x="74" y="534"/>
                    </a:lnTo>
                    <a:lnTo>
                      <a:pt x="98" y="550"/>
                    </a:lnTo>
                    <a:lnTo>
                      <a:pt x="126" y="564"/>
                    </a:lnTo>
                    <a:lnTo>
                      <a:pt x="126" y="564"/>
                    </a:lnTo>
                    <a:lnTo>
                      <a:pt x="142" y="570"/>
                    </a:lnTo>
                    <a:lnTo>
                      <a:pt x="158" y="574"/>
                    </a:lnTo>
                    <a:lnTo>
                      <a:pt x="174" y="576"/>
                    </a:lnTo>
                    <a:lnTo>
                      <a:pt x="190" y="578"/>
                    </a:lnTo>
                    <a:lnTo>
                      <a:pt x="206" y="576"/>
                    </a:lnTo>
                    <a:lnTo>
                      <a:pt x="224" y="574"/>
                    </a:lnTo>
                    <a:lnTo>
                      <a:pt x="240" y="572"/>
                    </a:lnTo>
                    <a:lnTo>
                      <a:pt x="256" y="566"/>
                    </a:lnTo>
                    <a:lnTo>
                      <a:pt x="256" y="566"/>
                    </a:lnTo>
                    <a:lnTo>
                      <a:pt x="284" y="556"/>
                    </a:lnTo>
                    <a:lnTo>
                      <a:pt x="308" y="540"/>
                    </a:lnTo>
                    <a:lnTo>
                      <a:pt x="332" y="522"/>
                    </a:lnTo>
                    <a:lnTo>
                      <a:pt x="352" y="500"/>
                    </a:lnTo>
                    <a:lnTo>
                      <a:pt x="352" y="500"/>
                    </a:lnTo>
                    <a:lnTo>
                      <a:pt x="368" y="484"/>
                    </a:lnTo>
                    <a:lnTo>
                      <a:pt x="382" y="464"/>
                    </a:lnTo>
                    <a:lnTo>
                      <a:pt x="408" y="426"/>
                    </a:lnTo>
                    <a:lnTo>
                      <a:pt x="432" y="386"/>
                    </a:lnTo>
                    <a:lnTo>
                      <a:pt x="456" y="348"/>
                    </a:lnTo>
                    <a:lnTo>
                      <a:pt x="468" y="332"/>
                    </a:lnTo>
                    <a:lnTo>
                      <a:pt x="480" y="316"/>
                    </a:lnTo>
                    <a:lnTo>
                      <a:pt x="492" y="302"/>
                    </a:lnTo>
                    <a:lnTo>
                      <a:pt x="506" y="290"/>
                    </a:lnTo>
                    <a:lnTo>
                      <a:pt x="522" y="280"/>
                    </a:lnTo>
                    <a:lnTo>
                      <a:pt x="538" y="272"/>
                    </a:lnTo>
                    <a:lnTo>
                      <a:pt x="554" y="266"/>
                    </a:lnTo>
                    <a:lnTo>
                      <a:pt x="572" y="266"/>
                    </a:lnTo>
                    <a:lnTo>
                      <a:pt x="572" y="266"/>
                    </a:lnTo>
                    <a:lnTo>
                      <a:pt x="590" y="266"/>
                    </a:lnTo>
                    <a:lnTo>
                      <a:pt x="604" y="268"/>
                    </a:lnTo>
                    <a:lnTo>
                      <a:pt x="618" y="272"/>
                    </a:lnTo>
                    <a:lnTo>
                      <a:pt x="628" y="276"/>
                    </a:lnTo>
                    <a:lnTo>
                      <a:pt x="640" y="282"/>
                    </a:lnTo>
                    <a:lnTo>
                      <a:pt x="648" y="288"/>
                    </a:lnTo>
                    <a:lnTo>
                      <a:pt x="656" y="296"/>
                    </a:lnTo>
                    <a:lnTo>
                      <a:pt x="662" y="304"/>
                    </a:lnTo>
                    <a:lnTo>
                      <a:pt x="672" y="320"/>
                    </a:lnTo>
                    <a:lnTo>
                      <a:pt x="678" y="336"/>
                    </a:lnTo>
                    <a:lnTo>
                      <a:pt x="682" y="354"/>
                    </a:lnTo>
                    <a:lnTo>
                      <a:pt x="686" y="368"/>
                    </a:lnTo>
                    <a:lnTo>
                      <a:pt x="686" y="368"/>
                    </a:lnTo>
                    <a:lnTo>
                      <a:pt x="684" y="36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1" name="Picture 2" descr="Image result for capgemini logo">
              <a:extLst>
                <a:ext uri="{FF2B5EF4-FFF2-40B4-BE49-F238E27FC236}">
                  <a16:creationId xmlns:a16="http://schemas.microsoft.com/office/drawing/2014/main" id="{BEDA78A0-F058-4704-AFBC-4D6E7169E78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7700"/>
            <a:stretch/>
          </p:blipFill>
          <p:spPr bwMode="auto">
            <a:xfrm>
              <a:off x="10018875" y="6186024"/>
              <a:ext cx="1617896" cy="4560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2B05F94E-DDAC-48AF-A1AE-728661C6CC1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40" y="6497949"/>
            <a:ext cx="289477" cy="33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9842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gend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9296ACF-9409-4655-BC8E-386E67E4266D}"/>
              </a:ext>
            </a:extLst>
          </p:cNvPr>
          <p:cNvGrpSpPr/>
          <p:nvPr userDrawn="1"/>
        </p:nvGrpSpPr>
        <p:grpSpPr>
          <a:xfrm>
            <a:off x="10021576" y="6344494"/>
            <a:ext cx="1970079" cy="456076"/>
            <a:chOff x="10018875" y="6186024"/>
            <a:chExt cx="1970079" cy="45607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EEC9E51-BCE5-43BE-9554-29CEDD4550DC}"/>
                </a:ext>
              </a:extLst>
            </p:cNvPr>
            <p:cNvGrpSpPr/>
            <p:nvPr userDrawn="1"/>
          </p:nvGrpSpPr>
          <p:grpSpPr>
            <a:xfrm>
              <a:off x="11642878" y="6197819"/>
              <a:ext cx="346076" cy="318832"/>
              <a:chOff x="5164137" y="2832894"/>
              <a:chExt cx="1089025" cy="1003300"/>
            </a:xfrm>
            <a:solidFill>
              <a:schemeClr val="bg1"/>
            </a:solidFill>
          </p:grpSpPr>
          <p:sp>
            <p:nvSpPr>
              <p:cNvPr id="7" name="Freeform 20">
                <a:extLst>
                  <a:ext uri="{FF2B5EF4-FFF2-40B4-BE49-F238E27FC236}">
                    <a16:creationId xmlns:a16="http://schemas.microsoft.com/office/drawing/2014/main" id="{A84E77E5-38DD-47EA-8DD5-78E6C4A96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5612" y="3255169"/>
                <a:ext cx="717550" cy="581025"/>
              </a:xfrm>
              <a:custGeom>
                <a:avLst/>
                <a:gdLst>
                  <a:gd name="T0" fmla="*/ 298 w 452"/>
                  <a:gd name="T1" fmla="*/ 254 h 366"/>
                  <a:gd name="T2" fmla="*/ 330 w 452"/>
                  <a:gd name="T3" fmla="*/ 252 h 366"/>
                  <a:gd name="T4" fmla="*/ 358 w 452"/>
                  <a:gd name="T5" fmla="*/ 242 h 366"/>
                  <a:gd name="T6" fmla="*/ 384 w 452"/>
                  <a:gd name="T7" fmla="*/ 228 h 366"/>
                  <a:gd name="T8" fmla="*/ 406 w 452"/>
                  <a:gd name="T9" fmla="*/ 210 h 366"/>
                  <a:gd name="T10" fmla="*/ 424 w 452"/>
                  <a:gd name="T11" fmla="*/ 186 h 366"/>
                  <a:gd name="T12" fmla="*/ 438 w 452"/>
                  <a:gd name="T13" fmla="*/ 160 h 366"/>
                  <a:gd name="T14" fmla="*/ 448 w 452"/>
                  <a:gd name="T15" fmla="*/ 132 h 366"/>
                  <a:gd name="T16" fmla="*/ 452 w 452"/>
                  <a:gd name="T17" fmla="*/ 102 h 366"/>
                  <a:gd name="T18" fmla="*/ 448 w 452"/>
                  <a:gd name="T19" fmla="*/ 88 h 366"/>
                  <a:gd name="T20" fmla="*/ 438 w 452"/>
                  <a:gd name="T21" fmla="*/ 54 h 366"/>
                  <a:gd name="T22" fmla="*/ 422 w 452"/>
                  <a:gd name="T23" fmla="*/ 30 h 366"/>
                  <a:gd name="T24" fmla="*/ 406 w 452"/>
                  <a:gd name="T25" fmla="*/ 16 h 366"/>
                  <a:gd name="T26" fmla="*/ 384 w 452"/>
                  <a:gd name="T27" fmla="*/ 6 h 366"/>
                  <a:gd name="T28" fmla="*/ 356 w 452"/>
                  <a:gd name="T29" fmla="*/ 0 h 366"/>
                  <a:gd name="T30" fmla="*/ 338 w 452"/>
                  <a:gd name="T31" fmla="*/ 0 h 366"/>
                  <a:gd name="T32" fmla="*/ 304 w 452"/>
                  <a:gd name="T33" fmla="*/ 6 h 366"/>
                  <a:gd name="T34" fmla="*/ 272 w 452"/>
                  <a:gd name="T35" fmla="*/ 24 h 366"/>
                  <a:gd name="T36" fmla="*/ 246 w 452"/>
                  <a:gd name="T37" fmla="*/ 50 h 366"/>
                  <a:gd name="T38" fmla="*/ 222 w 452"/>
                  <a:gd name="T39" fmla="*/ 82 h 366"/>
                  <a:gd name="T40" fmla="*/ 174 w 452"/>
                  <a:gd name="T41" fmla="*/ 160 h 366"/>
                  <a:gd name="T42" fmla="*/ 134 w 452"/>
                  <a:gd name="T43" fmla="*/ 218 h 366"/>
                  <a:gd name="T44" fmla="*/ 118 w 452"/>
                  <a:gd name="T45" fmla="*/ 234 h 366"/>
                  <a:gd name="T46" fmla="*/ 106 w 452"/>
                  <a:gd name="T47" fmla="*/ 272 h 366"/>
                  <a:gd name="T48" fmla="*/ 80 w 452"/>
                  <a:gd name="T49" fmla="*/ 306 h 366"/>
                  <a:gd name="T50" fmla="*/ 44 w 452"/>
                  <a:gd name="T51" fmla="*/ 330 h 366"/>
                  <a:gd name="T52" fmla="*/ 0 w 452"/>
                  <a:gd name="T53" fmla="*/ 342 h 366"/>
                  <a:gd name="T54" fmla="*/ 6 w 452"/>
                  <a:gd name="T55" fmla="*/ 348 h 366"/>
                  <a:gd name="T56" fmla="*/ 36 w 452"/>
                  <a:gd name="T57" fmla="*/ 360 h 366"/>
                  <a:gd name="T58" fmla="*/ 90 w 452"/>
                  <a:gd name="T59" fmla="*/ 366 h 366"/>
                  <a:gd name="T60" fmla="*/ 118 w 452"/>
                  <a:gd name="T61" fmla="*/ 366 h 366"/>
                  <a:gd name="T62" fmla="*/ 176 w 452"/>
                  <a:gd name="T63" fmla="*/ 358 h 366"/>
                  <a:gd name="T64" fmla="*/ 232 w 452"/>
                  <a:gd name="T65" fmla="*/ 340 h 366"/>
                  <a:gd name="T66" fmla="*/ 280 w 452"/>
                  <a:gd name="T67" fmla="*/ 314 h 366"/>
                  <a:gd name="T68" fmla="*/ 300 w 452"/>
                  <a:gd name="T69" fmla="*/ 298 h 366"/>
                  <a:gd name="T70" fmla="*/ 258 w 452"/>
                  <a:gd name="T71" fmla="*/ 292 h 366"/>
                  <a:gd name="T72" fmla="*/ 224 w 452"/>
                  <a:gd name="T73" fmla="*/ 272 h 366"/>
                  <a:gd name="T74" fmla="*/ 202 w 452"/>
                  <a:gd name="T75" fmla="*/ 242 h 366"/>
                  <a:gd name="T76" fmla="*/ 194 w 452"/>
                  <a:gd name="T77" fmla="*/ 204 h 366"/>
                  <a:gd name="T78" fmla="*/ 204 w 452"/>
                  <a:gd name="T79" fmla="*/ 216 h 366"/>
                  <a:gd name="T80" fmla="*/ 230 w 452"/>
                  <a:gd name="T81" fmla="*/ 236 h 366"/>
                  <a:gd name="T82" fmla="*/ 256 w 452"/>
                  <a:gd name="T83" fmla="*/ 248 h 366"/>
                  <a:gd name="T84" fmla="*/ 284 w 452"/>
                  <a:gd name="T85" fmla="*/ 254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2" h="366">
                    <a:moveTo>
                      <a:pt x="298" y="254"/>
                    </a:moveTo>
                    <a:lnTo>
                      <a:pt x="298" y="254"/>
                    </a:lnTo>
                    <a:lnTo>
                      <a:pt x="314" y="254"/>
                    </a:lnTo>
                    <a:lnTo>
                      <a:pt x="330" y="252"/>
                    </a:lnTo>
                    <a:lnTo>
                      <a:pt x="344" y="248"/>
                    </a:lnTo>
                    <a:lnTo>
                      <a:pt x="358" y="242"/>
                    </a:lnTo>
                    <a:lnTo>
                      <a:pt x="372" y="236"/>
                    </a:lnTo>
                    <a:lnTo>
                      <a:pt x="384" y="228"/>
                    </a:lnTo>
                    <a:lnTo>
                      <a:pt x="396" y="220"/>
                    </a:lnTo>
                    <a:lnTo>
                      <a:pt x="406" y="210"/>
                    </a:lnTo>
                    <a:lnTo>
                      <a:pt x="416" y="198"/>
                    </a:lnTo>
                    <a:lnTo>
                      <a:pt x="424" y="186"/>
                    </a:lnTo>
                    <a:lnTo>
                      <a:pt x="432" y="174"/>
                    </a:lnTo>
                    <a:lnTo>
                      <a:pt x="438" y="160"/>
                    </a:lnTo>
                    <a:lnTo>
                      <a:pt x="444" y="148"/>
                    </a:lnTo>
                    <a:lnTo>
                      <a:pt x="448" y="132"/>
                    </a:lnTo>
                    <a:lnTo>
                      <a:pt x="450" y="118"/>
                    </a:lnTo>
                    <a:lnTo>
                      <a:pt x="452" y="102"/>
                    </a:lnTo>
                    <a:lnTo>
                      <a:pt x="452" y="102"/>
                    </a:lnTo>
                    <a:lnTo>
                      <a:pt x="448" y="88"/>
                    </a:lnTo>
                    <a:lnTo>
                      <a:pt x="444" y="70"/>
                    </a:lnTo>
                    <a:lnTo>
                      <a:pt x="438" y="54"/>
                    </a:lnTo>
                    <a:lnTo>
                      <a:pt x="428" y="38"/>
                    </a:lnTo>
                    <a:lnTo>
                      <a:pt x="422" y="30"/>
                    </a:lnTo>
                    <a:lnTo>
                      <a:pt x="414" y="22"/>
                    </a:lnTo>
                    <a:lnTo>
                      <a:pt x="406" y="16"/>
                    </a:lnTo>
                    <a:lnTo>
                      <a:pt x="394" y="10"/>
                    </a:lnTo>
                    <a:lnTo>
                      <a:pt x="384" y="6"/>
                    </a:lnTo>
                    <a:lnTo>
                      <a:pt x="370" y="2"/>
                    </a:lnTo>
                    <a:lnTo>
                      <a:pt x="356" y="0"/>
                    </a:lnTo>
                    <a:lnTo>
                      <a:pt x="338" y="0"/>
                    </a:lnTo>
                    <a:lnTo>
                      <a:pt x="338" y="0"/>
                    </a:lnTo>
                    <a:lnTo>
                      <a:pt x="320" y="0"/>
                    </a:lnTo>
                    <a:lnTo>
                      <a:pt x="304" y="6"/>
                    </a:lnTo>
                    <a:lnTo>
                      <a:pt x="288" y="14"/>
                    </a:lnTo>
                    <a:lnTo>
                      <a:pt x="272" y="24"/>
                    </a:lnTo>
                    <a:lnTo>
                      <a:pt x="258" y="36"/>
                    </a:lnTo>
                    <a:lnTo>
                      <a:pt x="246" y="50"/>
                    </a:lnTo>
                    <a:lnTo>
                      <a:pt x="234" y="66"/>
                    </a:lnTo>
                    <a:lnTo>
                      <a:pt x="222" y="82"/>
                    </a:lnTo>
                    <a:lnTo>
                      <a:pt x="198" y="120"/>
                    </a:lnTo>
                    <a:lnTo>
                      <a:pt x="174" y="160"/>
                    </a:lnTo>
                    <a:lnTo>
                      <a:pt x="148" y="198"/>
                    </a:lnTo>
                    <a:lnTo>
                      <a:pt x="134" y="218"/>
                    </a:lnTo>
                    <a:lnTo>
                      <a:pt x="118" y="234"/>
                    </a:lnTo>
                    <a:lnTo>
                      <a:pt x="118" y="234"/>
                    </a:lnTo>
                    <a:lnTo>
                      <a:pt x="114" y="254"/>
                    </a:lnTo>
                    <a:lnTo>
                      <a:pt x="106" y="272"/>
                    </a:lnTo>
                    <a:lnTo>
                      <a:pt x="94" y="290"/>
                    </a:lnTo>
                    <a:lnTo>
                      <a:pt x="80" y="306"/>
                    </a:lnTo>
                    <a:lnTo>
                      <a:pt x="64" y="318"/>
                    </a:lnTo>
                    <a:lnTo>
                      <a:pt x="44" y="330"/>
                    </a:lnTo>
                    <a:lnTo>
                      <a:pt x="22" y="338"/>
                    </a:lnTo>
                    <a:lnTo>
                      <a:pt x="0" y="342"/>
                    </a:lnTo>
                    <a:lnTo>
                      <a:pt x="0" y="342"/>
                    </a:lnTo>
                    <a:lnTo>
                      <a:pt x="6" y="348"/>
                    </a:lnTo>
                    <a:lnTo>
                      <a:pt x="14" y="354"/>
                    </a:lnTo>
                    <a:lnTo>
                      <a:pt x="36" y="360"/>
                    </a:lnTo>
                    <a:lnTo>
                      <a:pt x="60" y="366"/>
                    </a:lnTo>
                    <a:lnTo>
                      <a:pt x="90" y="366"/>
                    </a:lnTo>
                    <a:lnTo>
                      <a:pt x="90" y="366"/>
                    </a:lnTo>
                    <a:lnTo>
                      <a:pt x="118" y="366"/>
                    </a:lnTo>
                    <a:lnTo>
                      <a:pt x="146" y="362"/>
                    </a:lnTo>
                    <a:lnTo>
                      <a:pt x="176" y="358"/>
                    </a:lnTo>
                    <a:lnTo>
                      <a:pt x="204" y="350"/>
                    </a:lnTo>
                    <a:lnTo>
                      <a:pt x="232" y="340"/>
                    </a:lnTo>
                    <a:lnTo>
                      <a:pt x="258" y="328"/>
                    </a:lnTo>
                    <a:lnTo>
                      <a:pt x="280" y="314"/>
                    </a:lnTo>
                    <a:lnTo>
                      <a:pt x="300" y="298"/>
                    </a:lnTo>
                    <a:lnTo>
                      <a:pt x="300" y="298"/>
                    </a:lnTo>
                    <a:lnTo>
                      <a:pt x="278" y="296"/>
                    </a:lnTo>
                    <a:lnTo>
                      <a:pt x="258" y="292"/>
                    </a:lnTo>
                    <a:lnTo>
                      <a:pt x="240" y="284"/>
                    </a:lnTo>
                    <a:lnTo>
                      <a:pt x="224" y="272"/>
                    </a:lnTo>
                    <a:lnTo>
                      <a:pt x="212" y="258"/>
                    </a:lnTo>
                    <a:lnTo>
                      <a:pt x="202" y="242"/>
                    </a:lnTo>
                    <a:lnTo>
                      <a:pt x="196" y="224"/>
                    </a:lnTo>
                    <a:lnTo>
                      <a:pt x="194" y="204"/>
                    </a:lnTo>
                    <a:lnTo>
                      <a:pt x="194" y="204"/>
                    </a:lnTo>
                    <a:lnTo>
                      <a:pt x="204" y="216"/>
                    </a:lnTo>
                    <a:lnTo>
                      <a:pt x="216" y="228"/>
                    </a:lnTo>
                    <a:lnTo>
                      <a:pt x="230" y="236"/>
                    </a:lnTo>
                    <a:lnTo>
                      <a:pt x="242" y="242"/>
                    </a:lnTo>
                    <a:lnTo>
                      <a:pt x="256" y="248"/>
                    </a:lnTo>
                    <a:lnTo>
                      <a:pt x="270" y="252"/>
                    </a:lnTo>
                    <a:lnTo>
                      <a:pt x="284" y="254"/>
                    </a:lnTo>
                    <a:lnTo>
                      <a:pt x="298" y="254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22">
                <a:extLst>
                  <a:ext uri="{FF2B5EF4-FFF2-40B4-BE49-F238E27FC236}">
                    <a16:creationId xmlns:a16="http://schemas.microsoft.com/office/drawing/2014/main" id="{AB2065F3-03D5-49BA-B5AB-216470771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4137" y="2832894"/>
                <a:ext cx="1089025" cy="917575"/>
              </a:xfrm>
              <a:custGeom>
                <a:avLst/>
                <a:gdLst>
                  <a:gd name="T0" fmla="*/ 684 w 686"/>
                  <a:gd name="T1" fmla="*/ 362 h 578"/>
                  <a:gd name="T2" fmla="*/ 676 w 686"/>
                  <a:gd name="T3" fmla="*/ 292 h 578"/>
                  <a:gd name="T4" fmla="*/ 652 w 686"/>
                  <a:gd name="T5" fmla="*/ 230 h 578"/>
                  <a:gd name="T6" fmla="*/ 614 w 686"/>
                  <a:gd name="T7" fmla="*/ 172 h 578"/>
                  <a:gd name="T8" fmla="*/ 566 w 686"/>
                  <a:gd name="T9" fmla="*/ 120 h 578"/>
                  <a:gd name="T10" fmla="*/ 546 w 686"/>
                  <a:gd name="T11" fmla="*/ 102 h 578"/>
                  <a:gd name="T12" fmla="*/ 502 w 686"/>
                  <a:gd name="T13" fmla="*/ 70 h 578"/>
                  <a:gd name="T14" fmla="*/ 432 w 686"/>
                  <a:gd name="T15" fmla="*/ 28 h 578"/>
                  <a:gd name="T16" fmla="*/ 382 w 686"/>
                  <a:gd name="T17" fmla="*/ 6 h 578"/>
                  <a:gd name="T18" fmla="*/ 366 w 686"/>
                  <a:gd name="T19" fmla="*/ 0 h 578"/>
                  <a:gd name="T20" fmla="*/ 366 w 686"/>
                  <a:gd name="T21" fmla="*/ 0 h 578"/>
                  <a:gd name="T22" fmla="*/ 328 w 686"/>
                  <a:gd name="T23" fmla="*/ 36 h 578"/>
                  <a:gd name="T24" fmla="*/ 274 w 686"/>
                  <a:gd name="T25" fmla="*/ 70 h 578"/>
                  <a:gd name="T26" fmla="*/ 152 w 686"/>
                  <a:gd name="T27" fmla="*/ 148 h 578"/>
                  <a:gd name="T28" fmla="*/ 94 w 686"/>
                  <a:gd name="T29" fmla="*/ 194 h 578"/>
                  <a:gd name="T30" fmla="*/ 46 w 686"/>
                  <a:gd name="T31" fmla="*/ 246 h 578"/>
                  <a:gd name="T32" fmla="*/ 26 w 686"/>
                  <a:gd name="T33" fmla="*/ 274 h 578"/>
                  <a:gd name="T34" fmla="*/ 12 w 686"/>
                  <a:gd name="T35" fmla="*/ 306 h 578"/>
                  <a:gd name="T36" fmla="*/ 4 w 686"/>
                  <a:gd name="T37" fmla="*/ 340 h 578"/>
                  <a:gd name="T38" fmla="*/ 0 w 686"/>
                  <a:gd name="T39" fmla="*/ 378 h 578"/>
                  <a:gd name="T40" fmla="*/ 2 w 686"/>
                  <a:gd name="T41" fmla="*/ 408 h 578"/>
                  <a:gd name="T42" fmla="*/ 20 w 686"/>
                  <a:gd name="T43" fmla="*/ 464 h 578"/>
                  <a:gd name="T44" fmla="*/ 52 w 686"/>
                  <a:gd name="T45" fmla="*/ 514 h 578"/>
                  <a:gd name="T46" fmla="*/ 98 w 686"/>
                  <a:gd name="T47" fmla="*/ 550 h 578"/>
                  <a:gd name="T48" fmla="*/ 126 w 686"/>
                  <a:gd name="T49" fmla="*/ 564 h 578"/>
                  <a:gd name="T50" fmla="*/ 158 w 686"/>
                  <a:gd name="T51" fmla="*/ 574 h 578"/>
                  <a:gd name="T52" fmla="*/ 190 w 686"/>
                  <a:gd name="T53" fmla="*/ 578 h 578"/>
                  <a:gd name="T54" fmla="*/ 224 w 686"/>
                  <a:gd name="T55" fmla="*/ 574 h 578"/>
                  <a:gd name="T56" fmla="*/ 256 w 686"/>
                  <a:gd name="T57" fmla="*/ 566 h 578"/>
                  <a:gd name="T58" fmla="*/ 284 w 686"/>
                  <a:gd name="T59" fmla="*/ 556 h 578"/>
                  <a:gd name="T60" fmla="*/ 332 w 686"/>
                  <a:gd name="T61" fmla="*/ 522 h 578"/>
                  <a:gd name="T62" fmla="*/ 352 w 686"/>
                  <a:gd name="T63" fmla="*/ 500 h 578"/>
                  <a:gd name="T64" fmla="*/ 382 w 686"/>
                  <a:gd name="T65" fmla="*/ 464 h 578"/>
                  <a:gd name="T66" fmla="*/ 432 w 686"/>
                  <a:gd name="T67" fmla="*/ 386 h 578"/>
                  <a:gd name="T68" fmla="*/ 468 w 686"/>
                  <a:gd name="T69" fmla="*/ 332 h 578"/>
                  <a:gd name="T70" fmla="*/ 492 w 686"/>
                  <a:gd name="T71" fmla="*/ 302 h 578"/>
                  <a:gd name="T72" fmla="*/ 522 w 686"/>
                  <a:gd name="T73" fmla="*/ 280 h 578"/>
                  <a:gd name="T74" fmla="*/ 554 w 686"/>
                  <a:gd name="T75" fmla="*/ 266 h 578"/>
                  <a:gd name="T76" fmla="*/ 572 w 686"/>
                  <a:gd name="T77" fmla="*/ 266 h 578"/>
                  <a:gd name="T78" fmla="*/ 604 w 686"/>
                  <a:gd name="T79" fmla="*/ 268 h 578"/>
                  <a:gd name="T80" fmla="*/ 628 w 686"/>
                  <a:gd name="T81" fmla="*/ 276 h 578"/>
                  <a:gd name="T82" fmla="*/ 648 w 686"/>
                  <a:gd name="T83" fmla="*/ 288 h 578"/>
                  <a:gd name="T84" fmla="*/ 662 w 686"/>
                  <a:gd name="T85" fmla="*/ 304 h 578"/>
                  <a:gd name="T86" fmla="*/ 678 w 686"/>
                  <a:gd name="T87" fmla="*/ 336 h 578"/>
                  <a:gd name="T88" fmla="*/ 686 w 686"/>
                  <a:gd name="T89" fmla="*/ 368 h 578"/>
                  <a:gd name="T90" fmla="*/ 684 w 686"/>
                  <a:gd name="T91" fmla="*/ 362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86" h="578">
                    <a:moveTo>
                      <a:pt x="684" y="362"/>
                    </a:moveTo>
                    <a:lnTo>
                      <a:pt x="684" y="362"/>
                    </a:lnTo>
                    <a:lnTo>
                      <a:pt x="682" y="326"/>
                    </a:lnTo>
                    <a:lnTo>
                      <a:pt x="676" y="292"/>
                    </a:lnTo>
                    <a:lnTo>
                      <a:pt x="666" y="260"/>
                    </a:lnTo>
                    <a:lnTo>
                      <a:pt x="652" y="230"/>
                    </a:lnTo>
                    <a:lnTo>
                      <a:pt x="634" y="200"/>
                    </a:lnTo>
                    <a:lnTo>
                      <a:pt x="614" y="172"/>
                    </a:lnTo>
                    <a:lnTo>
                      <a:pt x="592" y="146"/>
                    </a:lnTo>
                    <a:lnTo>
                      <a:pt x="566" y="120"/>
                    </a:lnTo>
                    <a:lnTo>
                      <a:pt x="566" y="120"/>
                    </a:lnTo>
                    <a:lnTo>
                      <a:pt x="546" y="102"/>
                    </a:lnTo>
                    <a:lnTo>
                      <a:pt x="524" y="86"/>
                    </a:lnTo>
                    <a:lnTo>
                      <a:pt x="502" y="70"/>
                    </a:lnTo>
                    <a:lnTo>
                      <a:pt x="480" y="56"/>
                    </a:lnTo>
                    <a:lnTo>
                      <a:pt x="432" y="28"/>
                    </a:lnTo>
                    <a:lnTo>
                      <a:pt x="382" y="6"/>
                    </a:lnTo>
                    <a:lnTo>
                      <a:pt x="382" y="6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66" y="0"/>
                    </a:lnTo>
                    <a:lnTo>
                      <a:pt x="348" y="18"/>
                    </a:lnTo>
                    <a:lnTo>
                      <a:pt x="328" y="36"/>
                    </a:lnTo>
                    <a:lnTo>
                      <a:pt x="302" y="54"/>
                    </a:lnTo>
                    <a:lnTo>
                      <a:pt x="274" y="70"/>
                    </a:lnTo>
                    <a:lnTo>
                      <a:pt x="214" y="108"/>
                    </a:lnTo>
                    <a:lnTo>
                      <a:pt x="152" y="148"/>
                    </a:lnTo>
                    <a:lnTo>
                      <a:pt x="122" y="170"/>
                    </a:lnTo>
                    <a:lnTo>
                      <a:pt x="94" y="194"/>
                    </a:lnTo>
                    <a:lnTo>
                      <a:pt x="68" y="218"/>
                    </a:lnTo>
                    <a:lnTo>
                      <a:pt x="46" y="246"/>
                    </a:lnTo>
                    <a:lnTo>
                      <a:pt x="36" y="260"/>
                    </a:lnTo>
                    <a:lnTo>
                      <a:pt x="26" y="274"/>
                    </a:lnTo>
                    <a:lnTo>
                      <a:pt x="18" y="290"/>
                    </a:lnTo>
                    <a:lnTo>
                      <a:pt x="12" y="306"/>
                    </a:lnTo>
                    <a:lnTo>
                      <a:pt x="6" y="322"/>
                    </a:lnTo>
                    <a:lnTo>
                      <a:pt x="4" y="340"/>
                    </a:lnTo>
                    <a:lnTo>
                      <a:pt x="0" y="358"/>
                    </a:lnTo>
                    <a:lnTo>
                      <a:pt x="0" y="378"/>
                    </a:lnTo>
                    <a:lnTo>
                      <a:pt x="0" y="378"/>
                    </a:lnTo>
                    <a:lnTo>
                      <a:pt x="2" y="408"/>
                    </a:lnTo>
                    <a:lnTo>
                      <a:pt x="8" y="436"/>
                    </a:lnTo>
                    <a:lnTo>
                      <a:pt x="20" y="464"/>
                    </a:lnTo>
                    <a:lnTo>
                      <a:pt x="34" y="490"/>
                    </a:lnTo>
                    <a:lnTo>
                      <a:pt x="52" y="514"/>
                    </a:lnTo>
                    <a:lnTo>
                      <a:pt x="74" y="534"/>
                    </a:lnTo>
                    <a:lnTo>
                      <a:pt x="98" y="550"/>
                    </a:lnTo>
                    <a:lnTo>
                      <a:pt x="126" y="564"/>
                    </a:lnTo>
                    <a:lnTo>
                      <a:pt x="126" y="564"/>
                    </a:lnTo>
                    <a:lnTo>
                      <a:pt x="142" y="570"/>
                    </a:lnTo>
                    <a:lnTo>
                      <a:pt x="158" y="574"/>
                    </a:lnTo>
                    <a:lnTo>
                      <a:pt x="174" y="576"/>
                    </a:lnTo>
                    <a:lnTo>
                      <a:pt x="190" y="578"/>
                    </a:lnTo>
                    <a:lnTo>
                      <a:pt x="206" y="576"/>
                    </a:lnTo>
                    <a:lnTo>
                      <a:pt x="224" y="574"/>
                    </a:lnTo>
                    <a:lnTo>
                      <a:pt x="240" y="572"/>
                    </a:lnTo>
                    <a:lnTo>
                      <a:pt x="256" y="566"/>
                    </a:lnTo>
                    <a:lnTo>
                      <a:pt x="256" y="566"/>
                    </a:lnTo>
                    <a:lnTo>
                      <a:pt x="284" y="556"/>
                    </a:lnTo>
                    <a:lnTo>
                      <a:pt x="308" y="540"/>
                    </a:lnTo>
                    <a:lnTo>
                      <a:pt x="332" y="522"/>
                    </a:lnTo>
                    <a:lnTo>
                      <a:pt x="352" y="500"/>
                    </a:lnTo>
                    <a:lnTo>
                      <a:pt x="352" y="500"/>
                    </a:lnTo>
                    <a:lnTo>
                      <a:pt x="368" y="484"/>
                    </a:lnTo>
                    <a:lnTo>
                      <a:pt x="382" y="464"/>
                    </a:lnTo>
                    <a:lnTo>
                      <a:pt x="408" y="426"/>
                    </a:lnTo>
                    <a:lnTo>
                      <a:pt x="432" y="386"/>
                    </a:lnTo>
                    <a:lnTo>
                      <a:pt x="456" y="348"/>
                    </a:lnTo>
                    <a:lnTo>
                      <a:pt x="468" y="332"/>
                    </a:lnTo>
                    <a:lnTo>
                      <a:pt x="480" y="316"/>
                    </a:lnTo>
                    <a:lnTo>
                      <a:pt x="492" y="302"/>
                    </a:lnTo>
                    <a:lnTo>
                      <a:pt x="506" y="290"/>
                    </a:lnTo>
                    <a:lnTo>
                      <a:pt x="522" y="280"/>
                    </a:lnTo>
                    <a:lnTo>
                      <a:pt x="538" y="272"/>
                    </a:lnTo>
                    <a:lnTo>
                      <a:pt x="554" y="266"/>
                    </a:lnTo>
                    <a:lnTo>
                      <a:pt x="572" y="266"/>
                    </a:lnTo>
                    <a:lnTo>
                      <a:pt x="572" y="266"/>
                    </a:lnTo>
                    <a:lnTo>
                      <a:pt x="590" y="266"/>
                    </a:lnTo>
                    <a:lnTo>
                      <a:pt x="604" y="268"/>
                    </a:lnTo>
                    <a:lnTo>
                      <a:pt x="618" y="272"/>
                    </a:lnTo>
                    <a:lnTo>
                      <a:pt x="628" y="276"/>
                    </a:lnTo>
                    <a:lnTo>
                      <a:pt x="640" y="282"/>
                    </a:lnTo>
                    <a:lnTo>
                      <a:pt x="648" y="288"/>
                    </a:lnTo>
                    <a:lnTo>
                      <a:pt x="656" y="296"/>
                    </a:lnTo>
                    <a:lnTo>
                      <a:pt x="662" y="304"/>
                    </a:lnTo>
                    <a:lnTo>
                      <a:pt x="672" y="320"/>
                    </a:lnTo>
                    <a:lnTo>
                      <a:pt x="678" y="336"/>
                    </a:lnTo>
                    <a:lnTo>
                      <a:pt x="682" y="354"/>
                    </a:lnTo>
                    <a:lnTo>
                      <a:pt x="686" y="368"/>
                    </a:lnTo>
                    <a:lnTo>
                      <a:pt x="686" y="368"/>
                    </a:lnTo>
                    <a:lnTo>
                      <a:pt x="684" y="36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6" name="Picture 2" descr="Image result for capgemini logo">
              <a:extLst>
                <a:ext uri="{FF2B5EF4-FFF2-40B4-BE49-F238E27FC236}">
                  <a16:creationId xmlns:a16="http://schemas.microsoft.com/office/drawing/2014/main" id="{4E7CCB91-6F8F-4B1F-9C61-8BC0844DB6A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7700"/>
            <a:stretch/>
          </p:blipFill>
          <p:spPr bwMode="auto">
            <a:xfrm>
              <a:off x="10018875" y="6186024"/>
              <a:ext cx="1617896" cy="4560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B0AC985D-9E33-4F45-97C6-B0AA6FDC34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40" y="6497949"/>
            <a:ext cx="289477" cy="33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9233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D23D9AE-2BDC-484B-92F2-504BD2ED9C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79" y="1"/>
            <a:ext cx="10972800" cy="933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327680-6DA4-4858-9479-BBBC6EA481B7}"/>
              </a:ext>
            </a:extLst>
          </p:cNvPr>
          <p:cNvGrpSpPr/>
          <p:nvPr userDrawn="1"/>
        </p:nvGrpSpPr>
        <p:grpSpPr>
          <a:xfrm>
            <a:off x="11607483" y="307410"/>
            <a:ext cx="346076" cy="318832"/>
            <a:chOff x="5164137" y="2832894"/>
            <a:chExt cx="1089025" cy="1003300"/>
          </a:xfrm>
          <a:solidFill>
            <a:srgbClr val="24231F"/>
          </a:solidFill>
        </p:grpSpPr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A9BC4971-5C28-4369-AD9B-434E10298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611" y="3255169"/>
              <a:ext cx="717551" cy="581025"/>
            </a:xfrm>
            <a:custGeom>
              <a:avLst/>
              <a:gdLst>
                <a:gd name="T0" fmla="*/ 298 w 452"/>
                <a:gd name="T1" fmla="*/ 254 h 366"/>
                <a:gd name="T2" fmla="*/ 330 w 452"/>
                <a:gd name="T3" fmla="*/ 252 h 366"/>
                <a:gd name="T4" fmla="*/ 358 w 452"/>
                <a:gd name="T5" fmla="*/ 242 h 366"/>
                <a:gd name="T6" fmla="*/ 384 w 452"/>
                <a:gd name="T7" fmla="*/ 228 h 366"/>
                <a:gd name="T8" fmla="*/ 406 w 452"/>
                <a:gd name="T9" fmla="*/ 210 h 366"/>
                <a:gd name="T10" fmla="*/ 424 w 452"/>
                <a:gd name="T11" fmla="*/ 186 h 366"/>
                <a:gd name="T12" fmla="*/ 438 w 452"/>
                <a:gd name="T13" fmla="*/ 160 h 366"/>
                <a:gd name="T14" fmla="*/ 448 w 452"/>
                <a:gd name="T15" fmla="*/ 132 h 366"/>
                <a:gd name="T16" fmla="*/ 452 w 452"/>
                <a:gd name="T17" fmla="*/ 102 h 366"/>
                <a:gd name="T18" fmla="*/ 448 w 452"/>
                <a:gd name="T19" fmla="*/ 88 h 366"/>
                <a:gd name="T20" fmla="*/ 438 w 452"/>
                <a:gd name="T21" fmla="*/ 54 h 366"/>
                <a:gd name="T22" fmla="*/ 422 w 452"/>
                <a:gd name="T23" fmla="*/ 30 h 366"/>
                <a:gd name="T24" fmla="*/ 406 w 452"/>
                <a:gd name="T25" fmla="*/ 16 h 366"/>
                <a:gd name="T26" fmla="*/ 384 w 452"/>
                <a:gd name="T27" fmla="*/ 6 h 366"/>
                <a:gd name="T28" fmla="*/ 356 w 452"/>
                <a:gd name="T29" fmla="*/ 0 h 366"/>
                <a:gd name="T30" fmla="*/ 338 w 452"/>
                <a:gd name="T31" fmla="*/ 0 h 366"/>
                <a:gd name="T32" fmla="*/ 304 w 452"/>
                <a:gd name="T33" fmla="*/ 6 h 366"/>
                <a:gd name="T34" fmla="*/ 272 w 452"/>
                <a:gd name="T35" fmla="*/ 24 h 366"/>
                <a:gd name="T36" fmla="*/ 246 w 452"/>
                <a:gd name="T37" fmla="*/ 50 h 366"/>
                <a:gd name="T38" fmla="*/ 222 w 452"/>
                <a:gd name="T39" fmla="*/ 82 h 366"/>
                <a:gd name="T40" fmla="*/ 174 w 452"/>
                <a:gd name="T41" fmla="*/ 160 h 366"/>
                <a:gd name="T42" fmla="*/ 134 w 452"/>
                <a:gd name="T43" fmla="*/ 218 h 366"/>
                <a:gd name="T44" fmla="*/ 118 w 452"/>
                <a:gd name="T45" fmla="*/ 234 h 366"/>
                <a:gd name="T46" fmla="*/ 106 w 452"/>
                <a:gd name="T47" fmla="*/ 272 h 366"/>
                <a:gd name="T48" fmla="*/ 80 w 452"/>
                <a:gd name="T49" fmla="*/ 306 h 366"/>
                <a:gd name="T50" fmla="*/ 44 w 452"/>
                <a:gd name="T51" fmla="*/ 330 h 366"/>
                <a:gd name="T52" fmla="*/ 0 w 452"/>
                <a:gd name="T53" fmla="*/ 342 h 366"/>
                <a:gd name="T54" fmla="*/ 6 w 452"/>
                <a:gd name="T55" fmla="*/ 348 h 366"/>
                <a:gd name="T56" fmla="*/ 36 w 452"/>
                <a:gd name="T57" fmla="*/ 360 h 366"/>
                <a:gd name="T58" fmla="*/ 90 w 452"/>
                <a:gd name="T59" fmla="*/ 366 h 366"/>
                <a:gd name="T60" fmla="*/ 118 w 452"/>
                <a:gd name="T61" fmla="*/ 366 h 366"/>
                <a:gd name="T62" fmla="*/ 176 w 452"/>
                <a:gd name="T63" fmla="*/ 358 h 366"/>
                <a:gd name="T64" fmla="*/ 232 w 452"/>
                <a:gd name="T65" fmla="*/ 340 h 366"/>
                <a:gd name="T66" fmla="*/ 280 w 452"/>
                <a:gd name="T67" fmla="*/ 314 h 366"/>
                <a:gd name="T68" fmla="*/ 300 w 452"/>
                <a:gd name="T69" fmla="*/ 298 h 366"/>
                <a:gd name="T70" fmla="*/ 258 w 452"/>
                <a:gd name="T71" fmla="*/ 292 h 366"/>
                <a:gd name="T72" fmla="*/ 224 w 452"/>
                <a:gd name="T73" fmla="*/ 272 h 366"/>
                <a:gd name="T74" fmla="*/ 202 w 452"/>
                <a:gd name="T75" fmla="*/ 242 h 366"/>
                <a:gd name="T76" fmla="*/ 194 w 452"/>
                <a:gd name="T77" fmla="*/ 204 h 366"/>
                <a:gd name="T78" fmla="*/ 204 w 452"/>
                <a:gd name="T79" fmla="*/ 216 h 366"/>
                <a:gd name="T80" fmla="*/ 230 w 452"/>
                <a:gd name="T81" fmla="*/ 236 h 366"/>
                <a:gd name="T82" fmla="*/ 256 w 452"/>
                <a:gd name="T83" fmla="*/ 248 h 366"/>
                <a:gd name="T84" fmla="*/ 284 w 452"/>
                <a:gd name="T85" fmla="*/ 25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" h="366">
                  <a:moveTo>
                    <a:pt x="298" y="254"/>
                  </a:moveTo>
                  <a:lnTo>
                    <a:pt x="298" y="254"/>
                  </a:lnTo>
                  <a:lnTo>
                    <a:pt x="314" y="254"/>
                  </a:lnTo>
                  <a:lnTo>
                    <a:pt x="330" y="252"/>
                  </a:lnTo>
                  <a:lnTo>
                    <a:pt x="344" y="248"/>
                  </a:lnTo>
                  <a:lnTo>
                    <a:pt x="358" y="242"/>
                  </a:lnTo>
                  <a:lnTo>
                    <a:pt x="372" y="236"/>
                  </a:lnTo>
                  <a:lnTo>
                    <a:pt x="384" y="228"/>
                  </a:lnTo>
                  <a:lnTo>
                    <a:pt x="396" y="220"/>
                  </a:lnTo>
                  <a:lnTo>
                    <a:pt x="406" y="210"/>
                  </a:lnTo>
                  <a:lnTo>
                    <a:pt x="416" y="198"/>
                  </a:lnTo>
                  <a:lnTo>
                    <a:pt x="424" y="186"/>
                  </a:lnTo>
                  <a:lnTo>
                    <a:pt x="432" y="174"/>
                  </a:lnTo>
                  <a:lnTo>
                    <a:pt x="438" y="160"/>
                  </a:lnTo>
                  <a:lnTo>
                    <a:pt x="444" y="148"/>
                  </a:lnTo>
                  <a:lnTo>
                    <a:pt x="448" y="132"/>
                  </a:lnTo>
                  <a:lnTo>
                    <a:pt x="450" y="118"/>
                  </a:lnTo>
                  <a:lnTo>
                    <a:pt x="452" y="102"/>
                  </a:lnTo>
                  <a:lnTo>
                    <a:pt x="452" y="102"/>
                  </a:lnTo>
                  <a:lnTo>
                    <a:pt x="448" y="88"/>
                  </a:lnTo>
                  <a:lnTo>
                    <a:pt x="444" y="70"/>
                  </a:lnTo>
                  <a:lnTo>
                    <a:pt x="438" y="54"/>
                  </a:lnTo>
                  <a:lnTo>
                    <a:pt x="428" y="38"/>
                  </a:lnTo>
                  <a:lnTo>
                    <a:pt x="422" y="30"/>
                  </a:lnTo>
                  <a:lnTo>
                    <a:pt x="414" y="22"/>
                  </a:lnTo>
                  <a:lnTo>
                    <a:pt x="406" y="16"/>
                  </a:lnTo>
                  <a:lnTo>
                    <a:pt x="394" y="10"/>
                  </a:lnTo>
                  <a:lnTo>
                    <a:pt x="384" y="6"/>
                  </a:lnTo>
                  <a:lnTo>
                    <a:pt x="370" y="2"/>
                  </a:lnTo>
                  <a:lnTo>
                    <a:pt x="356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20" y="0"/>
                  </a:lnTo>
                  <a:lnTo>
                    <a:pt x="304" y="6"/>
                  </a:lnTo>
                  <a:lnTo>
                    <a:pt x="288" y="14"/>
                  </a:lnTo>
                  <a:lnTo>
                    <a:pt x="272" y="24"/>
                  </a:lnTo>
                  <a:lnTo>
                    <a:pt x="258" y="36"/>
                  </a:lnTo>
                  <a:lnTo>
                    <a:pt x="246" y="50"/>
                  </a:lnTo>
                  <a:lnTo>
                    <a:pt x="234" y="66"/>
                  </a:lnTo>
                  <a:lnTo>
                    <a:pt x="222" y="82"/>
                  </a:lnTo>
                  <a:lnTo>
                    <a:pt x="198" y="120"/>
                  </a:lnTo>
                  <a:lnTo>
                    <a:pt x="174" y="160"/>
                  </a:lnTo>
                  <a:lnTo>
                    <a:pt x="148" y="198"/>
                  </a:lnTo>
                  <a:lnTo>
                    <a:pt x="134" y="218"/>
                  </a:lnTo>
                  <a:lnTo>
                    <a:pt x="118" y="234"/>
                  </a:lnTo>
                  <a:lnTo>
                    <a:pt x="118" y="234"/>
                  </a:lnTo>
                  <a:lnTo>
                    <a:pt x="114" y="254"/>
                  </a:lnTo>
                  <a:lnTo>
                    <a:pt x="106" y="272"/>
                  </a:lnTo>
                  <a:lnTo>
                    <a:pt x="94" y="290"/>
                  </a:lnTo>
                  <a:lnTo>
                    <a:pt x="80" y="306"/>
                  </a:lnTo>
                  <a:lnTo>
                    <a:pt x="64" y="318"/>
                  </a:lnTo>
                  <a:lnTo>
                    <a:pt x="44" y="330"/>
                  </a:lnTo>
                  <a:lnTo>
                    <a:pt x="22" y="338"/>
                  </a:lnTo>
                  <a:lnTo>
                    <a:pt x="0" y="342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14" y="354"/>
                  </a:lnTo>
                  <a:lnTo>
                    <a:pt x="36" y="360"/>
                  </a:lnTo>
                  <a:lnTo>
                    <a:pt x="60" y="366"/>
                  </a:lnTo>
                  <a:lnTo>
                    <a:pt x="90" y="366"/>
                  </a:lnTo>
                  <a:lnTo>
                    <a:pt x="90" y="366"/>
                  </a:lnTo>
                  <a:lnTo>
                    <a:pt x="118" y="366"/>
                  </a:lnTo>
                  <a:lnTo>
                    <a:pt x="146" y="362"/>
                  </a:lnTo>
                  <a:lnTo>
                    <a:pt x="176" y="358"/>
                  </a:lnTo>
                  <a:lnTo>
                    <a:pt x="204" y="350"/>
                  </a:lnTo>
                  <a:lnTo>
                    <a:pt x="232" y="340"/>
                  </a:lnTo>
                  <a:lnTo>
                    <a:pt x="258" y="328"/>
                  </a:lnTo>
                  <a:lnTo>
                    <a:pt x="280" y="314"/>
                  </a:lnTo>
                  <a:lnTo>
                    <a:pt x="300" y="298"/>
                  </a:lnTo>
                  <a:lnTo>
                    <a:pt x="300" y="298"/>
                  </a:lnTo>
                  <a:lnTo>
                    <a:pt x="278" y="296"/>
                  </a:lnTo>
                  <a:lnTo>
                    <a:pt x="258" y="292"/>
                  </a:lnTo>
                  <a:lnTo>
                    <a:pt x="240" y="284"/>
                  </a:lnTo>
                  <a:lnTo>
                    <a:pt x="224" y="272"/>
                  </a:lnTo>
                  <a:lnTo>
                    <a:pt x="212" y="258"/>
                  </a:lnTo>
                  <a:lnTo>
                    <a:pt x="202" y="242"/>
                  </a:lnTo>
                  <a:lnTo>
                    <a:pt x="196" y="224"/>
                  </a:lnTo>
                  <a:lnTo>
                    <a:pt x="194" y="204"/>
                  </a:lnTo>
                  <a:lnTo>
                    <a:pt x="194" y="204"/>
                  </a:lnTo>
                  <a:lnTo>
                    <a:pt x="204" y="216"/>
                  </a:lnTo>
                  <a:lnTo>
                    <a:pt x="216" y="228"/>
                  </a:lnTo>
                  <a:lnTo>
                    <a:pt x="230" y="236"/>
                  </a:lnTo>
                  <a:lnTo>
                    <a:pt x="242" y="242"/>
                  </a:lnTo>
                  <a:lnTo>
                    <a:pt x="256" y="248"/>
                  </a:lnTo>
                  <a:lnTo>
                    <a:pt x="270" y="252"/>
                  </a:lnTo>
                  <a:lnTo>
                    <a:pt x="284" y="254"/>
                  </a:lnTo>
                  <a:lnTo>
                    <a:pt x="298" y="25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id="{E1E855E7-8026-4C34-B12A-4A536EC05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4137" y="2832894"/>
              <a:ext cx="1089025" cy="917575"/>
            </a:xfrm>
            <a:custGeom>
              <a:avLst/>
              <a:gdLst>
                <a:gd name="T0" fmla="*/ 684 w 686"/>
                <a:gd name="T1" fmla="*/ 362 h 578"/>
                <a:gd name="T2" fmla="*/ 676 w 686"/>
                <a:gd name="T3" fmla="*/ 292 h 578"/>
                <a:gd name="T4" fmla="*/ 652 w 686"/>
                <a:gd name="T5" fmla="*/ 230 h 578"/>
                <a:gd name="T6" fmla="*/ 614 w 686"/>
                <a:gd name="T7" fmla="*/ 172 h 578"/>
                <a:gd name="T8" fmla="*/ 566 w 686"/>
                <a:gd name="T9" fmla="*/ 120 h 578"/>
                <a:gd name="T10" fmla="*/ 546 w 686"/>
                <a:gd name="T11" fmla="*/ 102 h 578"/>
                <a:gd name="T12" fmla="*/ 502 w 686"/>
                <a:gd name="T13" fmla="*/ 70 h 578"/>
                <a:gd name="T14" fmla="*/ 432 w 686"/>
                <a:gd name="T15" fmla="*/ 28 h 578"/>
                <a:gd name="T16" fmla="*/ 382 w 686"/>
                <a:gd name="T17" fmla="*/ 6 h 578"/>
                <a:gd name="T18" fmla="*/ 366 w 686"/>
                <a:gd name="T19" fmla="*/ 0 h 578"/>
                <a:gd name="T20" fmla="*/ 366 w 686"/>
                <a:gd name="T21" fmla="*/ 0 h 578"/>
                <a:gd name="T22" fmla="*/ 328 w 686"/>
                <a:gd name="T23" fmla="*/ 36 h 578"/>
                <a:gd name="T24" fmla="*/ 274 w 686"/>
                <a:gd name="T25" fmla="*/ 70 h 578"/>
                <a:gd name="T26" fmla="*/ 152 w 686"/>
                <a:gd name="T27" fmla="*/ 148 h 578"/>
                <a:gd name="T28" fmla="*/ 94 w 686"/>
                <a:gd name="T29" fmla="*/ 194 h 578"/>
                <a:gd name="T30" fmla="*/ 46 w 686"/>
                <a:gd name="T31" fmla="*/ 246 h 578"/>
                <a:gd name="T32" fmla="*/ 26 w 686"/>
                <a:gd name="T33" fmla="*/ 274 h 578"/>
                <a:gd name="T34" fmla="*/ 12 w 686"/>
                <a:gd name="T35" fmla="*/ 306 h 578"/>
                <a:gd name="T36" fmla="*/ 4 w 686"/>
                <a:gd name="T37" fmla="*/ 340 h 578"/>
                <a:gd name="T38" fmla="*/ 0 w 686"/>
                <a:gd name="T39" fmla="*/ 378 h 578"/>
                <a:gd name="T40" fmla="*/ 2 w 686"/>
                <a:gd name="T41" fmla="*/ 408 h 578"/>
                <a:gd name="T42" fmla="*/ 20 w 686"/>
                <a:gd name="T43" fmla="*/ 464 h 578"/>
                <a:gd name="T44" fmla="*/ 52 w 686"/>
                <a:gd name="T45" fmla="*/ 514 h 578"/>
                <a:gd name="T46" fmla="*/ 98 w 686"/>
                <a:gd name="T47" fmla="*/ 550 h 578"/>
                <a:gd name="T48" fmla="*/ 126 w 686"/>
                <a:gd name="T49" fmla="*/ 564 h 578"/>
                <a:gd name="T50" fmla="*/ 158 w 686"/>
                <a:gd name="T51" fmla="*/ 574 h 578"/>
                <a:gd name="T52" fmla="*/ 190 w 686"/>
                <a:gd name="T53" fmla="*/ 578 h 578"/>
                <a:gd name="T54" fmla="*/ 224 w 686"/>
                <a:gd name="T55" fmla="*/ 574 h 578"/>
                <a:gd name="T56" fmla="*/ 256 w 686"/>
                <a:gd name="T57" fmla="*/ 566 h 578"/>
                <a:gd name="T58" fmla="*/ 284 w 686"/>
                <a:gd name="T59" fmla="*/ 556 h 578"/>
                <a:gd name="T60" fmla="*/ 332 w 686"/>
                <a:gd name="T61" fmla="*/ 522 h 578"/>
                <a:gd name="T62" fmla="*/ 352 w 686"/>
                <a:gd name="T63" fmla="*/ 500 h 578"/>
                <a:gd name="T64" fmla="*/ 382 w 686"/>
                <a:gd name="T65" fmla="*/ 464 h 578"/>
                <a:gd name="T66" fmla="*/ 432 w 686"/>
                <a:gd name="T67" fmla="*/ 386 h 578"/>
                <a:gd name="T68" fmla="*/ 468 w 686"/>
                <a:gd name="T69" fmla="*/ 332 h 578"/>
                <a:gd name="T70" fmla="*/ 492 w 686"/>
                <a:gd name="T71" fmla="*/ 302 h 578"/>
                <a:gd name="T72" fmla="*/ 522 w 686"/>
                <a:gd name="T73" fmla="*/ 280 h 578"/>
                <a:gd name="T74" fmla="*/ 554 w 686"/>
                <a:gd name="T75" fmla="*/ 266 h 578"/>
                <a:gd name="T76" fmla="*/ 572 w 686"/>
                <a:gd name="T77" fmla="*/ 266 h 578"/>
                <a:gd name="T78" fmla="*/ 604 w 686"/>
                <a:gd name="T79" fmla="*/ 268 h 578"/>
                <a:gd name="T80" fmla="*/ 628 w 686"/>
                <a:gd name="T81" fmla="*/ 276 h 578"/>
                <a:gd name="T82" fmla="*/ 648 w 686"/>
                <a:gd name="T83" fmla="*/ 288 h 578"/>
                <a:gd name="T84" fmla="*/ 662 w 686"/>
                <a:gd name="T85" fmla="*/ 304 h 578"/>
                <a:gd name="T86" fmla="*/ 678 w 686"/>
                <a:gd name="T87" fmla="*/ 336 h 578"/>
                <a:gd name="T88" fmla="*/ 686 w 686"/>
                <a:gd name="T89" fmla="*/ 368 h 578"/>
                <a:gd name="T90" fmla="*/ 684 w 686"/>
                <a:gd name="T91" fmla="*/ 362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86" h="578">
                  <a:moveTo>
                    <a:pt x="684" y="362"/>
                  </a:moveTo>
                  <a:lnTo>
                    <a:pt x="684" y="362"/>
                  </a:lnTo>
                  <a:lnTo>
                    <a:pt x="682" y="326"/>
                  </a:lnTo>
                  <a:lnTo>
                    <a:pt x="676" y="292"/>
                  </a:lnTo>
                  <a:lnTo>
                    <a:pt x="666" y="260"/>
                  </a:lnTo>
                  <a:lnTo>
                    <a:pt x="652" y="230"/>
                  </a:lnTo>
                  <a:lnTo>
                    <a:pt x="634" y="200"/>
                  </a:lnTo>
                  <a:lnTo>
                    <a:pt x="614" y="172"/>
                  </a:lnTo>
                  <a:lnTo>
                    <a:pt x="592" y="146"/>
                  </a:lnTo>
                  <a:lnTo>
                    <a:pt x="566" y="120"/>
                  </a:lnTo>
                  <a:lnTo>
                    <a:pt x="566" y="120"/>
                  </a:lnTo>
                  <a:lnTo>
                    <a:pt x="546" y="102"/>
                  </a:lnTo>
                  <a:lnTo>
                    <a:pt x="524" y="86"/>
                  </a:lnTo>
                  <a:lnTo>
                    <a:pt x="502" y="70"/>
                  </a:lnTo>
                  <a:lnTo>
                    <a:pt x="480" y="56"/>
                  </a:lnTo>
                  <a:lnTo>
                    <a:pt x="432" y="28"/>
                  </a:lnTo>
                  <a:lnTo>
                    <a:pt x="382" y="6"/>
                  </a:lnTo>
                  <a:lnTo>
                    <a:pt x="382" y="6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48" y="18"/>
                  </a:lnTo>
                  <a:lnTo>
                    <a:pt x="328" y="36"/>
                  </a:lnTo>
                  <a:lnTo>
                    <a:pt x="302" y="54"/>
                  </a:lnTo>
                  <a:lnTo>
                    <a:pt x="274" y="70"/>
                  </a:lnTo>
                  <a:lnTo>
                    <a:pt x="214" y="108"/>
                  </a:lnTo>
                  <a:lnTo>
                    <a:pt x="152" y="148"/>
                  </a:lnTo>
                  <a:lnTo>
                    <a:pt x="122" y="170"/>
                  </a:lnTo>
                  <a:lnTo>
                    <a:pt x="94" y="194"/>
                  </a:lnTo>
                  <a:lnTo>
                    <a:pt x="68" y="218"/>
                  </a:lnTo>
                  <a:lnTo>
                    <a:pt x="46" y="246"/>
                  </a:lnTo>
                  <a:lnTo>
                    <a:pt x="36" y="260"/>
                  </a:lnTo>
                  <a:lnTo>
                    <a:pt x="26" y="274"/>
                  </a:lnTo>
                  <a:lnTo>
                    <a:pt x="18" y="290"/>
                  </a:lnTo>
                  <a:lnTo>
                    <a:pt x="12" y="306"/>
                  </a:lnTo>
                  <a:lnTo>
                    <a:pt x="6" y="322"/>
                  </a:lnTo>
                  <a:lnTo>
                    <a:pt x="4" y="340"/>
                  </a:lnTo>
                  <a:lnTo>
                    <a:pt x="0" y="358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2" y="408"/>
                  </a:lnTo>
                  <a:lnTo>
                    <a:pt x="8" y="436"/>
                  </a:lnTo>
                  <a:lnTo>
                    <a:pt x="20" y="464"/>
                  </a:lnTo>
                  <a:lnTo>
                    <a:pt x="34" y="490"/>
                  </a:lnTo>
                  <a:lnTo>
                    <a:pt x="52" y="514"/>
                  </a:lnTo>
                  <a:lnTo>
                    <a:pt x="74" y="534"/>
                  </a:lnTo>
                  <a:lnTo>
                    <a:pt x="98" y="550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42" y="570"/>
                  </a:lnTo>
                  <a:lnTo>
                    <a:pt x="158" y="574"/>
                  </a:lnTo>
                  <a:lnTo>
                    <a:pt x="174" y="576"/>
                  </a:lnTo>
                  <a:lnTo>
                    <a:pt x="190" y="578"/>
                  </a:lnTo>
                  <a:lnTo>
                    <a:pt x="206" y="576"/>
                  </a:lnTo>
                  <a:lnTo>
                    <a:pt x="224" y="574"/>
                  </a:lnTo>
                  <a:lnTo>
                    <a:pt x="240" y="572"/>
                  </a:lnTo>
                  <a:lnTo>
                    <a:pt x="256" y="566"/>
                  </a:lnTo>
                  <a:lnTo>
                    <a:pt x="256" y="566"/>
                  </a:lnTo>
                  <a:lnTo>
                    <a:pt x="284" y="556"/>
                  </a:lnTo>
                  <a:lnTo>
                    <a:pt x="308" y="540"/>
                  </a:lnTo>
                  <a:lnTo>
                    <a:pt x="332" y="522"/>
                  </a:lnTo>
                  <a:lnTo>
                    <a:pt x="352" y="500"/>
                  </a:lnTo>
                  <a:lnTo>
                    <a:pt x="352" y="500"/>
                  </a:lnTo>
                  <a:lnTo>
                    <a:pt x="368" y="484"/>
                  </a:lnTo>
                  <a:lnTo>
                    <a:pt x="382" y="464"/>
                  </a:lnTo>
                  <a:lnTo>
                    <a:pt x="408" y="426"/>
                  </a:lnTo>
                  <a:lnTo>
                    <a:pt x="432" y="386"/>
                  </a:lnTo>
                  <a:lnTo>
                    <a:pt x="456" y="348"/>
                  </a:lnTo>
                  <a:lnTo>
                    <a:pt x="468" y="332"/>
                  </a:lnTo>
                  <a:lnTo>
                    <a:pt x="480" y="316"/>
                  </a:lnTo>
                  <a:lnTo>
                    <a:pt x="492" y="302"/>
                  </a:lnTo>
                  <a:lnTo>
                    <a:pt x="506" y="290"/>
                  </a:lnTo>
                  <a:lnTo>
                    <a:pt x="522" y="280"/>
                  </a:lnTo>
                  <a:lnTo>
                    <a:pt x="538" y="272"/>
                  </a:lnTo>
                  <a:lnTo>
                    <a:pt x="554" y="266"/>
                  </a:lnTo>
                  <a:lnTo>
                    <a:pt x="572" y="266"/>
                  </a:lnTo>
                  <a:lnTo>
                    <a:pt x="572" y="266"/>
                  </a:lnTo>
                  <a:lnTo>
                    <a:pt x="590" y="266"/>
                  </a:lnTo>
                  <a:lnTo>
                    <a:pt x="604" y="268"/>
                  </a:lnTo>
                  <a:lnTo>
                    <a:pt x="618" y="272"/>
                  </a:lnTo>
                  <a:lnTo>
                    <a:pt x="628" y="276"/>
                  </a:lnTo>
                  <a:lnTo>
                    <a:pt x="640" y="282"/>
                  </a:lnTo>
                  <a:lnTo>
                    <a:pt x="648" y="288"/>
                  </a:lnTo>
                  <a:lnTo>
                    <a:pt x="656" y="296"/>
                  </a:lnTo>
                  <a:lnTo>
                    <a:pt x="662" y="304"/>
                  </a:lnTo>
                  <a:lnTo>
                    <a:pt x="672" y="320"/>
                  </a:lnTo>
                  <a:lnTo>
                    <a:pt x="678" y="336"/>
                  </a:lnTo>
                  <a:lnTo>
                    <a:pt x="682" y="354"/>
                  </a:lnTo>
                  <a:lnTo>
                    <a:pt x="686" y="368"/>
                  </a:lnTo>
                  <a:lnTo>
                    <a:pt x="686" y="368"/>
                  </a:lnTo>
                  <a:lnTo>
                    <a:pt x="684" y="36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E7E9EE3-5101-4C3F-8051-161D850DEBB9}"/>
              </a:ext>
            </a:extLst>
          </p:cNvPr>
          <p:cNvCxnSpPr/>
          <p:nvPr userDrawn="1"/>
        </p:nvCxnSpPr>
        <p:spPr>
          <a:xfrm>
            <a:off x="0" y="957939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A7480BB-6399-4A43-9175-FEA85B82FD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40" y="6497949"/>
            <a:ext cx="289477" cy="33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20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6E1FFD5-C787-45A8-B519-A45A733253B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900" y="611982"/>
            <a:ext cx="2267015" cy="509586"/>
            <a:chOff x="9550400" y="612775"/>
            <a:chExt cx="2231297" cy="50165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C0E9726-868E-4047-9BAB-13130637A97A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09DFC82-3A2B-4C76-8A2D-A956618A6467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114C793-E586-453F-9505-2F25158C7049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DDFFF31-0D96-455D-8D4B-AC24EBC9624B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C4F739B-0593-4B72-8505-0710AA706789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70251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92814EB-708F-421C-9F3F-E5C7B767B6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205289 w 12192000"/>
              <a:gd name="connsiteY0" fmla="*/ 966629 h 6858000"/>
              <a:gd name="connsiteX1" fmla="*/ 10155045 w 12192000"/>
              <a:gd name="connsiteY1" fmla="*/ 1089100 h 6858000"/>
              <a:gd name="connsiteX2" fmla="*/ 10129923 w 12192000"/>
              <a:gd name="connsiteY2" fmla="*/ 1057697 h 6858000"/>
              <a:gd name="connsiteX3" fmla="*/ 10205289 w 12192000"/>
              <a:gd name="connsiteY3" fmla="*/ 966629 h 6858000"/>
              <a:gd name="connsiteX4" fmla="*/ 10359163 w 12192000"/>
              <a:gd name="connsiteY4" fmla="*/ 768791 h 6858000"/>
              <a:gd name="connsiteX5" fmla="*/ 10381145 w 12192000"/>
              <a:gd name="connsiteY5" fmla="*/ 803334 h 6858000"/>
              <a:gd name="connsiteX6" fmla="*/ 10330900 w 12192000"/>
              <a:gd name="connsiteY6" fmla="*/ 875561 h 6858000"/>
              <a:gd name="connsiteX7" fmla="*/ 10359163 w 12192000"/>
              <a:gd name="connsiteY7" fmla="*/ 768791 h 6858000"/>
              <a:gd name="connsiteX8" fmla="*/ 11203898 w 12192000"/>
              <a:gd name="connsiteY8" fmla="*/ 658881 h 6858000"/>
              <a:gd name="connsiteX9" fmla="*/ 11178776 w 12192000"/>
              <a:gd name="connsiteY9" fmla="*/ 684003 h 6858000"/>
              <a:gd name="connsiteX10" fmla="*/ 11203898 w 12192000"/>
              <a:gd name="connsiteY10" fmla="*/ 709126 h 6858000"/>
              <a:gd name="connsiteX11" fmla="*/ 11229020 w 12192000"/>
              <a:gd name="connsiteY11" fmla="*/ 684003 h 6858000"/>
              <a:gd name="connsiteX12" fmla="*/ 11203898 w 12192000"/>
              <a:gd name="connsiteY12" fmla="*/ 658881 h 6858000"/>
              <a:gd name="connsiteX13" fmla="*/ 10842765 w 12192000"/>
              <a:gd name="connsiteY13" fmla="*/ 646320 h 6858000"/>
              <a:gd name="connsiteX14" fmla="*/ 10817643 w 12192000"/>
              <a:gd name="connsiteY14" fmla="*/ 674583 h 6858000"/>
              <a:gd name="connsiteX15" fmla="*/ 10842765 w 12192000"/>
              <a:gd name="connsiteY15" fmla="*/ 699705 h 6858000"/>
              <a:gd name="connsiteX16" fmla="*/ 10867887 w 12192000"/>
              <a:gd name="connsiteY16" fmla="*/ 671442 h 6858000"/>
              <a:gd name="connsiteX17" fmla="*/ 10842765 w 12192000"/>
              <a:gd name="connsiteY17" fmla="*/ 646320 h 6858000"/>
              <a:gd name="connsiteX18" fmla="*/ 9570952 w 12192000"/>
              <a:gd name="connsiteY18" fmla="*/ 621198 h 6858000"/>
              <a:gd name="connsiteX19" fmla="*/ 9420219 w 12192000"/>
              <a:gd name="connsiteY19" fmla="*/ 806475 h 6858000"/>
              <a:gd name="connsiteX20" fmla="*/ 9545830 w 12192000"/>
              <a:gd name="connsiteY20" fmla="*/ 969769 h 6858000"/>
              <a:gd name="connsiteX21" fmla="*/ 9665161 w 12192000"/>
              <a:gd name="connsiteY21" fmla="*/ 894402 h 6858000"/>
              <a:gd name="connsiteX22" fmla="*/ 9724826 w 12192000"/>
              <a:gd name="connsiteY22" fmla="*/ 954068 h 6858000"/>
              <a:gd name="connsiteX23" fmla="*/ 9797053 w 12192000"/>
              <a:gd name="connsiteY23" fmla="*/ 900683 h 6858000"/>
              <a:gd name="connsiteX24" fmla="*/ 9847297 w 12192000"/>
              <a:gd name="connsiteY24" fmla="*/ 954068 h 6858000"/>
              <a:gd name="connsiteX25" fmla="*/ 9894401 w 12192000"/>
              <a:gd name="connsiteY25" fmla="*/ 928946 h 6858000"/>
              <a:gd name="connsiteX26" fmla="*/ 9947786 w 12192000"/>
              <a:gd name="connsiteY26" fmla="*/ 1092240 h 6858000"/>
              <a:gd name="connsiteX27" fmla="*/ 9935225 w 12192000"/>
              <a:gd name="connsiteY27" fmla="*/ 957208 h 6858000"/>
              <a:gd name="connsiteX28" fmla="*/ 9985470 w 12192000"/>
              <a:gd name="connsiteY28" fmla="*/ 775072 h 6858000"/>
              <a:gd name="connsiteX29" fmla="*/ 10013732 w 12192000"/>
              <a:gd name="connsiteY29" fmla="*/ 828457 h 6858000"/>
              <a:gd name="connsiteX30" fmla="*/ 10007452 w 12192000"/>
              <a:gd name="connsiteY30" fmla="*/ 875561 h 6858000"/>
              <a:gd name="connsiteX31" fmla="*/ 9944646 w 12192000"/>
              <a:gd name="connsiteY31" fmla="*/ 935226 h 6858000"/>
              <a:gd name="connsiteX32" fmla="*/ 9969768 w 12192000"/>
              <a:gd name="connsiteY32" fmla="*/ 954068 h 6858000"/>
              <a:gd name="connsiteX33" fmla="*/ 10045135 w 12192000"/>
              <a:gd name="connsiteY33" fmla="*/ 878701 h 6858000"/>
              <a:gd name="connsiteX34" fmla="*/ 10092239 w 12192000"/>
              <a:gd name="connsiteY34" fmla="*/ 844158 h 6858000"/>
              <a:gd name="connsiteX35" fmla="*/ 10092239 w 12192000"/>
              <a:gd name="connsiteY35" fmla="*/ 859859 h 6858000"/>
              <a:gd name="connsiteX36" fmla="*/ 10148764 w 12192000"/>
              <a:gd name="connsiteY36" fmla="*/ 938366 h 6858000"/>
              <a:gd name="connsiteX37" fmla="*/ 10208430 w 12192000"/>
              <a:gd name="connsiteY37" fmla="*/ 891262 h 6858000"/>
              <a:gd name="connsiteX38" fmla="*/ 10211570 w 12192000"/>
              <a:gd name="connsiteY38" fmla="*/ 935226 h 6858000"/>
              <a:gd name="connsiteX39" fmla="*/ 10098520 w 12192000"/>
              <a:gd name="connsiteY39" fmla="*/ 1057697 h 6858000"/>
              <a:gd name="connsiteX40" fmla="*/ 10158185 w 12192000"/>
              <a:gd name="connsiteY40" fmla="*/ 1120503 h 6858000"/>
              <a:gd name="connsiteX41" fmla="*/ 10252393 w 12192000"/>
              <a:gd name="connsiteY41" fmla="*/ 947787 h 6858000"/>
              <a:gd name="connsiteX42" fmla="*/ 10315199 w 12192000"/>
              <a:gd name="connsiteY42" fmla="*/ 919525 h 6858000"/>
              <a:gd name="connsiteX43" fmla="*/ 10381145 w 12192000"/>
              <a:gd name="connsiteY43" fmla="*/ 954068 h 6858000"/>
              <a:gd name="connsiteX44" fmla="*/ 10481634 w 12192000"/>
              <a:gd name="connsiteY44" fmla="*/ 884982 h 6858000"/>
              <a:gd name="connsiteX45" fmla="*/ 10513037 w 12192000"/>
              <a:gd name="connsiteY45" fmla="*/ 954068 h 6858000"/>
              <a:gd name="connsiteX46" fmla="*/ 10578983 w 12192000"/>
              <a:gd name="connsiteY46" fmla="*/ 778212 h 6858000"/>
              <a:gd name="connsiteX47" fmla="*/ 10632367 w 12192000"/>
              <a:gd name="connsiteY47" fmla="*/ 969769 h 6858000"/>
              <a:gd name="connsiteX48" fmla="*/ 10704594 w 12192000"/>
              <a:gd name="connsiteY48" fmla="*/ 800194 h 6858000"/>
              <a:gd name="connsiteX49" fmla="*/ 10767400 w 12192000"/>
              <a:gd name="connsiteY49" fmla="*/ 954068 h 6858000"/>
              <a:gd name="connsiteX50" fmla="*/ 10830205 w 12192000"/>
              <a:gd name="connsiteY50" fmla="*/ 866140 h 6858000"/>
              <a:gd name="connsiteX51" fmla="*/ 10893011 w 12192000"/>
              <a:gd name="connsiteY51" fmla="*/ 954068 h 6858000"/>
              <a:gd name="connsiteX52" fmla="*/ 10949536 w 12192000"/>
              <a:gd name="connsiteY52" fmla="*/ 900683 h 6858000"/>
              <a:gd name="connsiteX53" fmla="*/ 10980939 w 12192000"/>
              <a:gd name="connsiteY53" fmla="*/ 954068 h 6858000"/>
              <a:gd name="connsiteX54" fmla="*/ 11059446 w 12192000"/>
              <a:gd name="connsiteY54" fmla="*/ 778212 h 6858000"/>
              <a:gd name="connsiteX55" fmla="*/ 11144233 w 12192000"/>
              <a:gd name="connsiteY55" fmla="*/ 954068 h 6858000"/>
              <a:gd name="connsiteX56" fmla="*/ 11197618 w 12192000"/>
              <a:gd name="connsiteY56" fmla="*/ 894402 h 6858000"/>
              <a:gd name="connsiteX57" fmla="*/ 11244722 w 12192000"/>
              <a:gd name="connsiteY57" fmla="*/ 954068 h 6858000"/>
              <a:gd name="connsiteX58" fmla="*/ 11272985 w 12192000"/>
              <a:gd name="connsiteY58" fmla="*/ 938366 h 6858000"/>
              <a:gd name="connsiteX59" fmla="*/ 11225881 w 12192000"/>
              <a:gd name="connsiteY59" fmla="*/ 784493 h 6858000"/>
              <a:gd name="connsiteX60" fmla="*/ 11207039 w 12192000"/>
              <a:gd name="connsiteY60" fmla="*/ 740529 h 6858000"/>
              <a:gd name="connsiteX61" fmla="*/ 11188197 w 12192000"/>
              <a:gd name="connsiteY61" fmla="*/ 743669 h 6858000"/>
              <a:gd name="connsiteX62" fmla="*/ 11147374 w 12192000"/>
              <a:gd name="connsiteY62" fmla="*/ 913244 h 6858000"/>
              <a:gd name="connsiteX63" fmla="*/ 11062586 w 12192000"/>
              <a:gd name="connsiteY63" fmla="*/ 721687 h 6858000"/>
              <a:gd name="connsiteX64" fmla="*/ 10984079 w 12192000"/>
              <a:gd name="connsiteY64" fmla="*/ 875561 h 6858000"/>
              <a:gd name="connsiteX65" fmla="*/ 10977798 w 12192000"/>
              <a:gd name="connsiteY65" fmla="*/ 803334 h 6858000"/>
              <a:gd name="connsiteX66" fmla="*/ 10980939 w 12192000"/>
              <a:gd name="connsiteY66" fmla="*/ 765651 h 6858000"/>
              <a:gd name="connsiteX67" fmla="*/ 10943255 w 12192000"/>
              <a:gd name="connsiteY67" fmla="*/ 740529 h 6858000"/>
              <a:gd name="connsiteX68" fmla="*/ 10896151 w 12192000"/>
              <a:gd name="connsiteY68" fmla="*/ 916384 h 6858000"/>
              <a:gd name="connsiteX69" fmla="*/ 10858468 w 12192000"/>
              <a:gd name="connsiteY69" fmla="*/ 790773 h 6858000"/>
              <a:gd name="connsiteX70" fmla="*/ 10820784 w 12192000"/>
              <a:gd name="connsiteY70" fmla="*/ 740529 h 6858000"/>
              <a:gd name="connsiteX71" fmla="*/ 10773680 w 12192000"/>
              <a:gd name="connsiteY71" fmla="*/ 906964 h 6858000"/>
              <a:gd name="connsiteX72" fmla="*/ 10707734 w 12192000"/>
              <a:gd name="connsiteY72" fmla="*/ 740529 h 6858000"/>
              <a:gd name="connsiteX73" fmla="*/ 10638648 w 12192000"/>
              <a:gd name="connsiteY73" fmla="*/ 897543 h 6858000"/>
              <a:gd name="connsiteX74" fmla="*/ 10578983 w 12192000"/>
              <a:gd name="connsiteY74" fmla="*/ 721687 h 6858000"/>
              <a:gd name="connsiteX75" fmla="*/ 10516177 w 12192000"/>
              <a:gd name="connsiteY75" fmla="*/ 847298 h 6858000"/>
              <a:gd name="connsiteX76" fmla="*/ 10509897 w 12192000"/>
              <a:gd name="connsiteY76" fmla="*/ 847298 h 6858000"/>
              <a:gd name="connsiteX77" fmla="*/ 10509897 w 12192000"/>
              <a:gd name="connsiteY77" fmla="*/ 809615 h 6858000"/>
              <a:gd name="connsiteX78" fmla="*/ 10475353 w 12192000"/>
              <a:gd name="connsiteY78" fmla="*/ 737388 h 6858000"/>
              <a:gd name="connsiteX79" fmla="*/ 10387426 w 12192000"/>
              <a:gd name="connsiteY79" fmla="*/ 919525 h 6858000"/>
              <a:gd name="connsiteX80" fmla="*/ 10349742 w 12192000"/>
              <a:gd name="connsiteY80" fmla="*/ 903823 h 6858000"/>
              <a:gd name="connsiteX81" fmla="*/ 10425109 w 12192000"/>
              <a:gd name="connsiteY81" fmla="*/ 800194 h 6858000"/>
              <a:gd name="connsiteX82" fmla="*/ 10365444 w 12192000"/>
              <a:gd name="connsiteY82" fmla="*/ 740529 h 6858000"/>
              <a:gd name="connsiteX83" fmla="*/ 10286937 w 12192000"/>
              <a:gd name="connsiteY83" fmla="*/ 837877 h 6858000"/>
              <a:gd name="connsiteX84" fmla="*/ 10299498 w 12192000"/>
              <a:gd name="connsiteY84" fmla="*/ 900683 h 6858000"/>
              <a:gd name="connsiteX85" fmla="*/ 10249253 w 12192000"/>
              <a:gd name="connsiteY85" fmla="*/ 922665 h 6858000"/>
              <a:gd name="connsiteX86" fmla="*/ 10239832 w 12192000"/>
              <a:gd name="connsiteY86" fmla="*/ 784493 h 6858000"/>
              <a:gd name="connsiteX87" fmla="*/ 10202149 w 12192000"/>
              <a:gd name="connsiteY87" fmla="*/ 815895 h 6858000"/>
              <a:gd name="connsiteX88" fmla="*/ 10155045 w 12192000"/>
              <a:gd name="connsiteY88" fmla="*/ 897543 h 6858000"/>
              <a:gd name="connsiteX89" fmla="*/ 10133063 w 12192000"/>
              <a:gd name="connsiteY89" fmla="*/ 863000 h 6858000"/>
              <a:gd name="connsiteX90" fmla="*/ 10236692 w 12192000"/>
              <a:gd name="connsiteY90" fmla="*/ 762511 h 6858000"/>
              <a:gd name="connsiteX91" fmla="*/ 10202149 w 12192000"/>
              <a:gd name="connsiteY91" fmla="*/ 727968 h 6858000"/>
              <a:gd name="connsiteX92" fmla="*/ 10107941 w 12192000"/>
              <a:gd name="connsiteY92" fmla="*/ 784493 h 6858000"/>
              <a:gd name="connsiteX93" fmla="*/ 10051415 w 12192000"/>
              <a:gd name="connsiteY93" fmla="*/ 841018 h 6858000"/>
              <a:gd name="connsiteX94" fmla="*/ 10051415 w 12192000"/>
              <a:gd name="connsiteY94" fmla="*/ 825316 h 6858000"/>
              <a:gd name="connsiteX95" fmla="*/ 9985470 w 12192000"/>
              <a:gd name="connsiteY95" fmla="*/ 734248 h 6858000"/>
              <a:gd name="connsiteX96" fmla="*/ 9932085 w 12192000"/>
              <a:gd name="connsiteY96" fmla="*/ 775072 h 6858000"/>
              <a:gd name="connsiteX97" fmla="*/ 9910103 w 12192000"/>
              <a:gd name="connsiteY97" fmla="*/ 740529 h 6858000"/>
              <a:gd name="connsiteX98" fmla="*/ 9884981 w 12192000"/>
              <a:gd name="connsiteY98" fmla="*/ 746809 h 6858000"/>
              <a:gd name="connsiteX99" fmla="*/ 9891261 w 12192000"/>
              <a:gd name="connsiteY99" fmla="*/ 812755 h 6858000"/>
              <a:gd name="connsiteX100" fmla="*/ 9850437 w 12192000"/>
              <a:gd name="connsiteY100" fmla="*/ 922665 h 6858000"/>
              <a:gd name="connsiteX101" fmla="*/ 9822175 w 12192000"/>
              <a:gd name="connsiteY101" fmla="*/ 800194 h 6858000"/>
              <a:gd name="connsiteX102" fmla="*/ 9809614 w 12192000"/>
              <a:gd name="connsiteY102" fmla="*/ 797054 h 6858000"/>
              <a:gd name="connsiteX103" fmla="*/ 9781351 w 12192000"/>
              <a:gd name="connsiteY103" fmla="*/ 853579 h 6858000"/>
              <a:gd name="connsiteX104" fmla="*/ 9734247 w 12192000"/>
              <a:gd name="connsiteY104" fmla="*/ 919525 h 6858000"/>
              <a:gd name="connsiteX105" fmla="*/ 9709125 w 12192000"/>
              <a:gd name="connsiteY105" fmla="*/ 878701 h 6858000"/>
              <a:gd name="connsiteX106" fmla="*/ 9819035 w 12192000"/>
              <a:gd name="connsiteY106" fmla="*/ 778212 h 6858000"/>
              <a:gd name="connsiteX107" fmla="*/ 9784492 w 12192000"/>
              <a:gd name="connsiteY107" fmla="*/ 740529 h 6858000"/>
              <a:gd name="connsiteX108" fmla="*/ 9674582 w 12192000"/>
              <a:gd name="connsiteY108" fmla="*/ 825316 h 6858000"/>
              <a:gd name="connsiteX109" fmla="*/ 9555251 w 12192000"/>
              <a:gd name="connsiteY109" fmla="*/ 925805 h 6858000"/>
              <a:gd name="connsiteX110" fmla="*/ 9473604 w 12192000"/>
              <a:gd name="connsiteY110" fmla="*/ 800194 h 6858000"/>
              <a:gd name="connsiteX111" fmla="*/ 9567812 w 12192000"/>
              <a:gd name="connsiteY111" fmla="*/ 655741 h 6858000"/>
              <a:gd name="connsiteX112" fmla="*/ 9608636 w 12192000"/>
              <a:gd name="connsiteY112" fmla="*/ 721687 h 6858000"/>
              <a:gd name="connsiteX113" fmla="*/ 9655740 w 12192000"/>
              <a:gd name="connsiteY113" fmla="*/ 687144 h 6858000"/>
              <a:gd name="connsiteX114" fmla="*/ 9570952 w 12192000"/>
              <a:gd name="connsiteY114" fmla="*/ 621198 h 6858000"/>
              <a:gd name="connsiteX115" fmla="*/ 11503938 w 12192000"/>
              <a:gd name="connsiteY115" fmla="*/ 612538 h 6858000"/>
              <a:gd name="connsiteX116" fmla="*/ 11291551 w 12192000"/>
              <a:gd name="connsiteY116" fmla="*/ 832051 h 6858000"/>
              <a:gd name="connsiteX117" fmla="*/ 11365123 w 12192000"/>
              <a:gd name="connsiteY117" fmla="*/ 940418 h 6858000"/>
              <a:gd name="connsiteX118" fmla="*/ 11440083 w 12192000"/>
              <a:gd name="connsiteY118" fmla="*/ 941808 h 6858000"/>
              <a:gd name="connsiteX119" fmla="*/ 11444304 w 12192000"/>
              <a:gd name="connsiteY119" fmla="*/ 939708 h 6858000"/>
              <a:gd name="connsiteX120" fmla="*/ 11445324 w 12192000"/>
              <a:gd name="connsiteY120" fmla="*/ 939542 h 6858000"/>
              <a:gd name="connsiteX121" fmla="*/ 11475268 w 12192000"/>
              <a:gd name="connsiteY121" fmla="*/ 924644 h 6858000"/>
              <a:gd name="connsiteX122" fmla="*/ 11494474 w 12192000"/>
              <a:gd name="connsiteY122" fmla="*/ 907542 h 6858000"/>
              <a:gd name="connsiteX123" fmla="*/ 11488753 w 12192000"/>
              <a:gd name="connsiteY123" fmla="*/ 926162 h 6858000"/>
              <a:gd name="connsiteX124" fmla="*/ 11464846 w 12192000"/>
              <a:gd name="connsiteY124" fmla="*/ 951842 h 6858000"/>
              <a:gd name="connsiteX125" fmla="*/ 11432834 w 12192000"/>
              <a:gd name="connsiteY125" fmla="*/ 964214 h 6858000"/>
              <a:gd name="connsiteX126" fmla="*/ 11433416 w 12192000"/>
              <a:gd name="connsiteY126" fmla="*/ 964508 h 6858000"/>
              <a:gd name="connsiteX127" fmla="*/ 11427416 w 12192000"/>
              <a:gd name="connsiteY127" fmla="*/ 966826 h 6858000"/>
              <a:gd name="connsiteX128" fmla="*/ 11478812 w 12192000"/>
              <a:gd name="connsiteY128" fmla="*/ 980728 h 6858000"/>
              <a:gd name="connsiteX129" fmla="*/ 11601049 w 12192000"/>
              <a:gd name="connsiteY129" fmla="*/ 940412 h 6858000"/>
              <a:gd name="connsiteX130" fmla="*/ 11600229 w 12192000"/>
              <a:gd name="connsiteY130" fmla="*/ 940299 h 6858000"/>
              <a:gd name="connsiteX131" fmla="*/ 11604054 w 12192000"/>
              <a:gd name="connsiteY131" fmla="*/ 938167 h 6858000"/>
              <a:gd name="connsiteX132" fmla="*/ 11561078 w 12192000"/>
              <a:gd name="connsiteY132" fmla="*/ 923772 h 6858000"/>
              <a:gd name="connsiteX133" fmla="*/ 11546930 w 12192000"/>
              <a:gd name="connsiteY133" fmla="*/ 891807 h 6858000"/>
              <a:gd name="connsiteX134" fmla="*/ 11567885 w 12192000"/>
              <a:gd name="connsiteY134" fmla="*/ 908611 h 6858000"/>
              <a:gd name="connsiteX135" fmla="*/ 11601049 w 12192000"/>
              <a:gd name="connsiteY135" fmla="*/ 915389 h 6858000"/>
              <a:gd name="connsiteX136" fmla="*/ 11650104 w 12192000"/>
              <a:gd name="connsiteY136" fmla="*/ 900067 h 6858000"/>
              <a:gd name="connsiteX137" fmla="*/ 11650828 w 12192000"/>
              <a:gd name="connsiteY137" fmla="*/ 899169 h 6858000"/>
              <a:gd name="connsiteX138" fmla="*/ 11652427 w 12192000"/>
              <a:gd name="connsiteY138" fmla="*/ 898382 h 6858000"/>
              <a:gd name="connsiteX139" fmla="*/ 11683608 w 12192000"/>
              <a:gd name="connsiteY139" fmla="*/ 859705 h 6858000"/>
              <a:gd name="connsiteX140" fmla="*/ 11690343 w 12192000"/>
              <a:gd name="connsiteY140" fmla="*/ 825792 h 6858000"/>
              <a:gd name="connsiteX141" fmla="*/ 11690350 w 12192000"/>
              <a:gd name="connsiteY141" fmla="*/ 825831 h 6858000"/>
              <a:gd name="connsiteX142" fmla="*/ 11690350 w 12192000"/>
              <a:gd name="connsiteY142" fmla="*/ 825754 h 6858000"/>
              <a:gd name="connsiteX143" fmla="*/ 11690350 w 12192000"/>
              <a:gd name="connsiteY143" fmla="*/ 823091 h 6858000"/>
              <a:gd name="connsiteX144" fmla="*/ 11623276 w 12192000"/>
              <a:gd name="connsiteY144" fmla="*/ 684719 h 6858000"/>
              <a:gd name="connsiteX145" fmla="*/ 11573655 w 12192000"/>
              <a:gd name="connsiteY145" fmla="*/ 647215 h 6858000"/>
              <a:gd name="connsiteX146" fmla="*/ 11570681 w 12192000"/>
              <a:gd name="connsiteY146" fmla="*/ 645708 h 6858000"/>
              <a:gd name="connsiteX147" fmla="*/ 11570221 w 12192000"/>
              <a:gd name="connsiteY147" fmla="*/ 645361 h 6858000"/>
              <a:gd name="connsiteX148" fmla="*/ 11513655 w 12192000"/>
              <a:gd name="connsiteY148" fmla="*/ 616706 h 6858000"/>
              <a:gd name="connsiteX149" fmla="*/ 11503938 w 12192000"/>
              <a:gd name="connsiteY149" fmla="*/ 612538 h 6858000"/>
              <a:gd name="connsiteX150" fmla="*/ 0 w 12192000"/>
              <a:gd name="connsiteY150" fmla="*/ 0 h 6858000"/>
              <a:gd name="connsiteX151" fmla="*/ 12192000 w 12192000"/>
              <a:gd name="connsiteY151" fmla="*/ 0 h 6858000"/>
              <a:gd name="connsiteX152" fmla="*/ 12192000 w 12192000"/>
              <a:gd name="connsiteY152" fmla="*/ 6858000 h 6858000"/>
              <a:gd name="connsiteX153" fmla="*/ 0 w 12192000"/>
              <a:gd name="connsiteY15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12192000" h="6858000">
                <a:moveTo>
                  <a:pt x="10205289" y="966629"/>
                </a:moveTo>
                <a:cubicBezTo>
                  <a:pt x="10205289" y="1067118"/>
                  <a:pt x="10180167" y="1089100"/>
                  <a:pt x="10155045" y="1089100"/>
                </a:cubicBezTo>
                <a:cubicBezTo>
                  <a:pt x="10139343" y="1089100"/>
                  <a:pt x="10129923" y="1073399"/>
                  <a:pt x="10129923" y="1057697"/>
                </a:cubicBezTo>
                <a:cubicBezTo>
                  <a:pt x="10129923" y="1013733"/>
                  <a:pt x="10164466" y="988611"/>
                  <a:pt x="10205289" y="966629"/>
                </a:cubicBezTo>
                <a:close/>
                <a:moveTo>
                  <a:pt x="10359163" y="768791"/>
                </a:moveTo>
                <a:cubicBezTo>
                  <a:pt x="10374864" y="768791"/>
                  <a:pt x="10384285" y="781352"/>
                  <a:pt x="10381145" y="803334"/>
                </a:cubicBezTo>
                <a:cubicBezTo>
                  <a:pt x="10378005" y="828457"/>
                  <a:pt x="10362303" y="853579"/>
                  <a:pt x="10330900" y="875561"/>
                </a:cubicBezTo>
                <a:cubicBezTo>
                  <a:pt x="10318339" y="828457"/>
                  <a:pt x="10327760" y="768791"/>
                  <a:pt x="10359163" y="768791"/>
                </a:cubicBezTo>
                <a:close/>
                <a:moveTo>
                  <a:pt x="11203898" y="658881"/>
                </a:moveTo>
                <a:cubicBezTo>
                  <a:pt x="11191337" y="658881"/>
                  <a:pt x="11178776" y="671442"/>
                  <a:pt x="11178776" y="684003"/>
                </a:cubicBezTo>
                <a:cubicBezTo>
                  <a:pt x="11181916" y="696564"/>
                  <a:pt x="11191337" y="709126"/>
                  <a:pt x="11203898" y="709126"/>
                </a:cubicBezTo>
                <a:cubicBezTo>
                  <a:pt x="11216459" y="709126"/>
                  <a:pt x="11229020" y="696564"/>
                  <a:pt x="11229020" y="684003"/>
                </a:cubicBezTo>
                <a:cubicBezTo>
                  <a:pt x="11229020" y="668302"/>
                  <a:pt x="11219600" y="658881"/>
                  <a:pt x="11203898" y="658881"/>
                </a:cubicBezTo>
                <a:close/>
                <a:moveTo>
                  <a:pt x="10842765" y="646320"/>
                </a:moveTo>
                <a:cubicBezTo>
                  <a:pt x="10827064" y="646320"/>
                  <a:pt x="10817643" y="658881"/>
                  <a:pt x="10817643" y="674583"/>
                </a:cubicBezTo>
                <a:cubicBezTo>
                  <a:pt x="10817643" y="690284"/>
                  <a:pt x="10830204" y="702845"/>
                  <a:pt x="10842765" y="699705"/>
                </a:cubicBezTo>
                <a:cubicBezTo>
                  <a:pt x="10858467" y="699705"/>
                  <a:pt x="10867887" y="687144"/>
                  <a:pt x="10867887" y="671442"/>
                </a:cubicBezTo>
                <a:cubicBezTo>
                  <a:pt x="10867887" y="655741"/>
                  <a:pt x="10858467" y="646320"/>
                  <a:pt x="10842765" y="646320"/>
                </a:cubicBezTo>
                <a:close/>
                <a:moveTo>
                  <a:pt x="9570952" y="621198"/>
                </a:moveTo>
                <a:cubicBezTo>
                  <a:pt x="9492445" y="621198"/>
                  <a:pt x="9420219" y="702845"/>
                  <a:pt x="9420219" y="806475"/>
                </a:cubicBezTo>
                <a:cubicBezTo>
                  <a:pt x="9420219" y="906964"/>
                  <a:pt x="9470463" y="969769"/>
                  <a:pt x="9545830" y="969769"/>
                </a:cubicBezTo>
                <a:cubicBezTo>
                  <a:pt x="9592934" y="969769"/>
                  <a:pt x="9636898" y="944647"/>
                  <a:pt x="9665161" y="894402"/>
                </a:cubicBezTo>
                <a:cubicBezTo>
                  <a:pt x="9671441" y="935226"/>
                  <a:pt x="9702844" y="954068"/>
                  <a:pt x="9724826" y="954068"/>
                </a:cubicBezTo>
                <a:cubicBezTo>
                  <a:pt x="9759369" y="954068"/>
                  <a:pt x="9784492" y="932086"/>
                  <a:pt x="9797053" y="900683"/>
                </a:cubicBezTo>
                <a:cubicBezTo>
                  <a:pt x="9803333" y="932086"/>
                  <a:pt x="9822175" y="954068"/>
                  <a:pt x="9847297" y="954068"/>
                </a:cubicBezTo>
                <a:cubicBezTo>
                  <a:pt x="9866139" y="954068"/>
                  <a:pt x="9881840" y="944647"/>
                  <a:pt x="9894401" y="928946"/>
                </a:cubicBezTo>
                <a:cubicBezTo>
                  <a:pt x="9891261" y="1035715"/>
                  <a:pt x="9884981" y="1104801"/>
                  <a:pt x="9947786" y="1092240"/>
                </a:cubicBezTo>
                <a:cubicBezTo>
                  <a:pt x="9938365" y="1060837"/>
                  <a:pt x="9935225" y="1007453"/>
                  <a:pt x="9935225" y="957208"/>
                </a:cubicBezTo>
                <a:cubicBezTo>
                  <a:pt x="9935225" y="822176"/>
                  <a:pt x="9957207" y="775072"/>
                  <a:pt x="9985470" y="775072"/>
                </a:cubicBezTo>
                <a:cubicBezTo>
                  <a:pt x="10007452" y="775072"/>
                  <a:pt x="10013732" y="800194"/>
                  <a:pt x="10013732" y="828457"/>
                </a:cubicBezTo>
                <a:cubicBezTo>
                  <a:pt x="10013732" y="844158"/>
                  <a:pt x="10013732" y="859859"/>
                  <a:pt x="10007452" y="875561"/>
                </a:cubicBezTo>
                <a:cubicBezTo>
                  <a:pt x="9972908" y="897543"/>
                  <a:pt x="9944646" y="913244"/>
                  <a:pt x="9944646" y="935226"/>
                </a:cubicBezTo>
                <a:cubicBezTo>
                  <a:pt x="9944646" y="954068"/>
                  <a:pt x="9957207" y="954068"/>
                  <a:pt x="9969768" y="954068"/>
                </a:cubicBezTo>
                <a:cubicBezTo>
                  <a:pt x="9994890" y="954068"/>
                  <a:pt x="10029433" y="928946"/>
                  <a:pt x="10045135" y="878701"/>
                </a:cubicBezTo>
                <a:cubicBezTo>
                  <a:pt x="10060836" y="869280"/>
                  <a:pt x="10076538" y="859859"/>
                  <a:pt x="10092239" y="844158"/>
                </a:cubicBezTo>
                <a:cubicBezTo>
                  <a:pt x="10092239" y="850439"/>
                  <a:pt x="10092239" y="853579"/>
                  <a:pt x="10092239" y="859859"/>
                </a:cubicBezTo>
                <a:cubicBezTo>
                  <a:pt x="10092239" y="910104"/>
                  <a:pt x="10114221" y="938366"/>
                  <a:pt x="10148764" y="938366"/>
                </a:cubicBezTo>
                <a:cubicBezTo>
                  <a:pt x="10177027" y="938366"/>
                  <a:pt x="10195868" y="919525"/>
                  <a:pt x="10208430" y="891262"/>
                </a:cubicBezTo>
                <a:cubicBezTo>
                  <a:pt x="10208430" y="906964"/>
                  <a:pt x="10208430" y="922665"/>
                  <a:pt x="10211570" y="935226"/>
                </a:cubicBezTo>
                <a:cubicBezTo>
                  <a:pt x="10158185" y="960348"/>
                  <a:pt x="10098520" y="985471"/>
                  <a:pt x="10098520" y="1057697"/>
                </a:cubicBezTo>
                <a:cubicBezTo>
                  <a:pt x="10098520" y="1095380"/>
                  <a:pt x="10123642" y="1120503"/>
                  <a:pt x="10158185" y="1120503"/>
                </a:cubicBezTo>
                <a:cubicBezTo>
                  <a:pt x="10233552" y="1120503"/>
                  <a:pt x="10252393" y="1041996"/>
                  <a:pt x="10252393" y="947787"/>
                </a:cubicBezTo>
                <a:cubicBezTo>
                  <a:pt x="10277516" y="938366"/>
                  <a:pt x="10296357" y="928946"/>
                  <a:pt x="10315199" y="919525"/>
                </a:cubicBezTo>
                <a:cubicBezTo>
                  <a:pt x="10334041" y="941507"/>
                  <a:pt x="10359163" y="954068"/>
                  <a:pt x="10381145" y="954068"/>
                </a:cubicBezTo>
                <a:cubicBezTo>
                  <a:pt x="10425109" y="954068"/>
                  <a:pt x="10456512" y="932086"/>
                  <a:pt x="10481634" y="884982"/>
                </a:cubicBezTo>
                <a:cubicBezTo>
                  <a:pt x="10484774" y="919525"/>
                  <a:pt x="10494195" y="954068"/>
                  <a:pt x="10513037" y="954068"/>
                </a:cubicBezTo>
                <a:cubicBezTo>
                  <a:pt x="10547580" y="954068"/>
                  <a:pt x="10553860" y="778212"/>
                  <a:pt x="10578983" y="778212"/>
                </a:cubicBezTo>
                <a:cubicBezTo>
                  <a:pt x="10597824" y="778212"/>
                  <a:pt x="10582123" y="969769"/>
                  <a:pt x="10632367" y="969769"/>
                </a:cubicBezTo>
                <a:cubicBezTo>
                  <a:pt x="10676331" y="969769"/>
                  <a:pt x="10685752" y="800194"/>
                  <a:pt x="10704594" y="800194"/>
                </a:cubicBezTo>
                <a:cubicBezTo>
                  <a:pt x="10720295" y="800194"/>
                  <a:pt x="10720295" y="954068"/>
                  <a:pt x="10767400" y="954068"/>
                </a:cubicBezTo>
                <a:cubicBezTo>
                  <a:pt x="10789381" y="954068"/>
                  <a:pt x="10817644" y="925805"/>
                  <a:pt x="10830205" y="866140"/>
                </a:cubicBezTo>
                <a:cubicBezTo>
                  <a:pt x="10836486" y="903823"/>
                  <a:pt x="10855327" y="954068"/>
                  <a:pt x="10893011" y="954068"/>
                </a:cubicBezTo>
                <a:cubicBezTo>
                  <a:pt x="10914993" y="954068"/>
                  <a:pt x="10933834" y="932086"/>
                  <a:pt x="10949536" y="900683"/>
                </a:cubicBezTo>
                <a:cubicBezTo>
                  <a:pt x="10952676" y="932086"/>
                  <a:pt x="10962097" y="954068"/>
                  <a:pt x="10980939" y="954068"/>
                </a:cubicBezTo>
                <a:cubicBezTo>
                  <a:pt x="11024903" y="954068"/>
                  <a:pt x="11024903" y="778212"/>
                  <a:pt x="11059446" y="778212"/>
                </a:cubicBezTo>
                <a:cubicBezTo>
                  <a:pt x="11087708" y="778212"/>
                  <a:pt x="11078287" y="954068"/>
                  <a:pt x="11144233" y="954068"/>
                </a:cubicBezTo>
                <a:cubicBezTo>
                  <a:pt x="11175636" y="954068"/>
                  <a:pt x="11191337" y="928946"/>
                  <a:pt x="11197618" y="894402"/>
                </a:cubicBezTo>
                <a:cubicBezTo>
                  <a:pt x="11210179" y="944647"/>
                  <a:pt x="11229021" y="954068"/>
                  <a:pt x="11244722" y="954068"/>
                </a:cubicBezTo>
                <a:cubicBezTo>
                  <a:pt x="11254143" y="954068"/>
                  <a:pt x="11263564" y="950928"/>
                  <a:pt x="11272985" y="938366"/>
                </a:cubicBezTo>
                <a:cubicBezTo>
                  <a:pt x="11219600" y="916384"/>
                  <a:pt x="11225881" y="837877"/>
                  <a:pt x="11225881" y="784493"/>
                </a:cubicBezTo>
                <a:cubicBezTo>
                  <a:pt x="11225881" y="759370"/>
                  <a:pt x="11222740" y="740529"/>
                  <a:pt x="11207039" y="740529"/>
                </a:cubicBezTo>
                <a:cubicBezTo>
                  <a:pt x="11197618" y="740529"/>
                  <a:pt x="11194478" y="740529"/>
                  <a:pt x="11188197" y="743669"/>
                </a:cubicBezTo>
                <a:cubicBezTo>
                  <a:pt x="11194478" y="834737"/>
                  <a:pt x="11172496" y="913244"/>
                  <a:pt x="11147374" y="913244"/>
                </a:cubicBezTo>
                <a:cubicBezTo>
                  <a:pt x="11115971" y="913244"/>
                  <a:pt x="11131672" y="721687"/>
                  <a:pt x="11062586" y="721687"/>
                </a:cubicBezTo>
                <a:cubicBezTo>
                  <a:pt x="10999780" y="721687"/>
                  <a:pt x="10990359" y="875561"/>
                  <a:pt x="10984079" y="875561"/>
                </a:cubicBezTo>
                <a:cubicBezTo>
                  <a:pt x="10977798" y="875561"/>
                  <a:pt x="10977798" y="834737"/>
                  <a:pt x="10977798" y="803334"/>
                </a:cubicBezTo>
                <a:cubicBezTo>
                  <a:pt x="10980939" y="787633"/>
                  <a:pt x="10980939" y="775072"/>
                  <a:pt x="10980939" y="765651"/>
                </a:cubicBezTo>
                <a:cubicBezTo>
                  <a:pt x="10980939" y="749950"/>
                  <a:pt x="10974658" y="727968"/>
                  <a:pt x="10943255" y="740529"/>
                </a:cubicBezTo>
                <a:cubicBezTo>
                  <a:pt x="10943255" y="850439"/>
                  <a:pt x="10921273" y="916384"/>
                  <a:pt x="10896151" y="916384"/>
                </a:cubicBezTo>
                <a:cubicBezTo>
                  <a:pt x="10858468" y="916384"/>
                  <a:pt x="10858468" y="815895"/>
                  <a:pt x="10858468" y="790773"/>
                </a:cubicBezTo>
                <a:cubicBezTo>
                  <a:pt x="10858468" y="762511"/>
                  <a:pt x="10861608" y="727968"/>
                  <a:pt x="10820784" y="740529"/>
                </a:cubicBezTo>
                <a:cubicBezTo>
                  <a:pt x="10814504" y="834737"/>
                  <a:pt x="10789381" y="906964"/>
                  <a:pt x="10773680" y="906964"/>
                </a:cubicBezTo>
                <a:cubicBezTo>
                  <a:pt x="10754838" y="906964"/>
                  <a:pt x="10757979" y="740529"/>
                  <a:pt x="10707734" y="740529"/>
                </a:cubicBezTo>
                <a:cubicBezTo>
                  <a:pt x="10660630" y="740529"/>
                  <a:pt x="10648069" y="897543"/>
                  <a:pt x="10638648" y="897543"/>
                </a:cubicBezTo>
                <a:cubicBezTo>
                  <a:pt x="10622947" y="897543"/>
                  <a:pt x="10644929" y="721687"/>
                  <a:pt x="10578983" y="721687"/>
                </a:cubicBezTo>
                <a:cubicBezTo>
                  <a:pt x="10544440" y="721687"/>
                  <a:pt x="10531879" y="781352"/>
                  <a:pt x="10516177" y="847298"/>
                </a:cubicBezTo>
                <a:cubicBezTo>
                  <a:pt x="10513037" y="859859"/>
                  <a:pt x="10509897" y="859859"/>
                  <a:pt x="10509897" y="847298"/>
                </a:cubicBezTo>
                <a:cubicBezTo>
                  <a:pt x="10509897" y="834737"/>
                  <a:pt x="10509897" y="822176"/>
                  <a:pt x="10509897" y="809615"/>
                </a:cubicBezTo>
                <a:cubicBezTo>
                  <a:pt x="10525598" y="743669"/>
                  <a:pt x="10506756" y="718547"/>
                  <a:pt x="10475353" y="737388"/>
                </a:cubicBezTo>
                <a:cubicBezTo>
                  <a:pt x="10484774" y="859859"/>
                  <a:pt x="10428249" y="919525"/>
                  <a:pt x="10387426" y="919525"/>
                </a:cubicBezTo>
                <a:cubicBezTo>
                  <a:pt x="10371724" y="919525"/>
                  <a:pt x="10359163" y="913244"/>
                  <a:pt x="10349742" y="903823"/>
                </a:cubicBezTo>
                <a:cubicBezTo>
                  <a:pt x="10399987" y="872421"/>
                  <a:pt x="10425109" y="834737"/>
                  <a:pt x="10425109" y="800194"/>
                </a:cubicBezTo>
                <a:cubicBezTo>
                  <a:pt x="10425109" y="762511"/>
                  <a:pt x="10403127" y="740529"/>
                  <a:pt x="10365444" y="740529"/>
                </a:cubicBezTo>
                <a:cubicBezTo>
                  <a:pt x="10315199" y="740529"/>
                  <a:pt x="10286937" y="793913"/>
                  <a:pt x="10286937" y="837877"/>
                </a:cubicBezTo>
                <a:cubicBezTo>
                  <a:pt x="10286937" y="863000"/>
                  <a:pt x="10290077" y="881841"/>
                  <a:pt x="10299498" y="900683"/>
                </a:cubicBezTo>
                <a:cubicBezTo>
                  <a:pt x="10280656" y="910104"/>
                  <a:pt x="10264955" y="916384"/>
                  <a:pt x="10249253" y="922665"/>
                </a:cubicBezTo>
                <a:cubicBezTo>
                  <a:pt x="10249253" y="875561"/>
                  <a:pt x="10242973" y="828457"/>
                  <a:pt x="10239832" y="784493"/>
                </a:cubicBezTo>
                <a:cubicBezTo>
                  <a:pt x="10211570" y="778212"/>
                  <a:pt x="10205289" y="790773"/>
                  <a:pt x="10202149" y="815895"/>
                </a:cubicBezTo>
                <a:cubicBezTo>
                  <a:pt x="10192728" y="863000"/>
                  <a:pt x="10173886" y="897543"/>
                  <a:pt x="10155045" y="897543"/>
                </a:cubicBezTo>
                <a:cubicBezTo>
                  <a:pt x="10142484" y="897543"/>
                  <a:pt x="10133063" y="881841"/>
                  <a:pt x="10133063" y="863000"/>
                </a:cubicBezTo>
                <a:cubicBezTo>
                  <a:pt x="10126782" y="775072"/>
                  <a:pt x="10199009" y="749950"/>
                  <a:pt x="10236692" y="762511"/>
                </a:cubicBezTo>
                <a:cubicBezTo>
                  <a:pt x="10242973" y="743669"/>
                  <a:pt x="10236692" y="727968"/>
                  <a:pt x="10202149" y="727968"/>
                </a:cubicBezTo>
                <a:cubicBezTo>
                  <a:pt x="10161325" y="727968"/>
                  <a:pt x="10129923" y="753090"/>
                  <a:pt x="10107941" y="784493"/>
                </a:cubicBezTo>
                <a:cubicBezTo>
                  <a:pt x="10092239" y="806475"/>
                  <a:pt x="10076538" y="822176"/>
                  <a:pt x="10051415" y="841018"/>
                </a:cubicBezTo>
                <a:cubicBezTo>
                  <a:pt x="10051415" y="834737"/>
                  <a:pt x="10051415" y="831597"/>
                  <a:pt x="10051415" y="825316"/>
                </a:cubicBezTo>
                <a:cubicBezTo>
                  <a:pt x="10051415" y="762511"/>
                  <a:pt x="10016872" y="734248"/>
                  <a:pt x="9985470" y="734248"/>
                </a:cubicBezTo>
                <a:cubicBezTo>
                  <a:pt x="9957207" y="734248"/>
                  <a:pt x="9941506" y="749950"/>
                  <a:pt x="9932085" y="775072"/>
                </a:cubicBezTo>
                <a:cubicBezTo>
                  <a:pt x="9928945" y="753090"/>
                  <a:pt x="9925804" y="740529"/>
                  <a:pt x="9910103" y="740529"/>
                </a:cubicBezTo>
                <a:cubicBezTo>
                  <a:pt x="9903822" y="740529"/>
                  <a:pt x="9894401" y="743669"/>
                  <a:pt x="9884981" y="746809"/>
                </a:cubicBezTo>
                <a:cubicBezTo>
                  <a:pt x="9888121" y="759370"/>
                  <a:pt x="9891261" y="790773"/>
                  <a:pt x="9891261" y="812755"/>
                </a:cubicBezTo>
                <a:cubicBezTo>
                  <a:pt x="9891261" y="888122"/>
                  <a:pt x="9869279" y="922665"/>
                  <a:pt x="9850437" y="922665"/>
                </a:cubicBezTo>
                <a:cubicBezTo>
                  <a:pt x="9825315" y="922665"/>
                  <a:pt x="9822175" y="834737"/>
                  <a:pt x="9822175" y="800194"/>
                </a:cubicBezTo>
                <a:cubicBezTo>
                  <a:pt x="9819035" y="800194"/>
                  <a:pt x="9815894" y="797054"/>
                  <a:pt x="9809614" y="797054"/>
                </a:cubicBezTo>
                <a:cubicBezTo>
                  <a:pt x="9787632" y="797054"/>
                  <a:pt x="9784492" y="825316"/>
                  <a:pt x="9781351" y="853579"/>
                </a:cubicBezTo>
                <a:cubicBezTo>
                  <a:pt x="9775071" y="881841"/>
                  <a:pt x="9759369" y="919525"/>
                  <a:pt x="9734247" y="919525"/>
                </a:cubicBezTo>
                <a:cubicBezTo>
                  <a:pt x="9718546" y="919525"/>
                  <a:pt x="9709125" y="903823"/>
                  <a:pt x="9709125" y="878701"/>
                </a:cubicBezTo>
                <a:cubicBezTo>
                  <a:pt x="9702844" y="822176"/>
                  <a:pt x="9749949" y="759370"/>
                  <a:pt x="9819035" y="778212"/>
                </a:cubicBezTo>
                <a:cubicBezTo>
                  <a:pt x="9825315" y="759370"/>
                  <a:pt x="9812754" y="740529"/>
                  <a:pt x="9784492" y="740529"/>
                </a:cubicBezTo>
                <a:cubicBezTo>
                  <a:pt x="9734247" y="740529"/>
                  <a:pt x="9690283" y="781352"/>
                  <a:pt x="9674582" y="825316"/>
                </a:cubicBezTo>
                <a:cubicBezTo>
                  <a:pt x="9655740" y="866140"/>
                  <a:pt x="9621197" y="925805"/>
                  <a:pt x="9555251" y="925805"/>
                </a:cubicBezTo>
                <a:cubicBezTo>
                  <a:pt x="9508147" y="925805"/>
                  <a:pt x="9473604" y="884982"/>
                  <a:pt x="9473604" y="800194"/>
                </a:cubicBezTo>
                <a:cubicBezTo>
                  <a:pt x="9473604" y="727968"/>
                  <a:pt x="9520708" y="655741"/>
                  <a:pt x="9567812" y="655741"/>
                </a:cubicBezTo>
                <a:cubicBezTo>
                  <a:pt x="9602355" y="655741"/>
                  <a:pt x="9611776" y="690284"/>
                  <a:pt x="9608636" y="721687"/>
                </a:cubicBezTo>
                <a:cubicBezTo>
                  <a:pt x="9627478" y="737388"/>
                  <a:pt x="9655740" y="721687"/>
                  <a:pt x="9655740" y="687144"/>
                </a:cubicBezTo>
                <a:cubicBezTo>
                  <a:pt x="9655740" y="662022"/>
                  <a:pt x="9636898" y="621198"/>
                  <a:pt x="9570952" y="621198"/>
                </a:cubicBezTo>
                <a:close/>
                <a:moveTo>
                  <a:pt x="11503938" y="612538"/>
                </a:moveTo>
                <a:cubicBezTo>
                  <a:pt x="11456741" y="669501"/>
                  <a:pt x="11291551" y="712570"/>
                  <a:pt x="11291551" y="832051"/>
                </a:cubicBezTo>
                <a:cubicBezTo>
                  <a:pt x="11291551" y="879288"/>
                  <a:pt x="11320702" y="923747"/>
                  <a:pt x="11365123" y="940418"/>
                </a:cubicBezTo>
                <a:cubicBezTo>
                  <a:pt x="11390110" y="950144"/>
                  <a:pt x="11415096" y="950144"/>
                  <a:pt x="11440083" y="941808"/>
                </a:cubicBezTo>
                <a:lnTo>
                  <a:pt x="11444304" y="939708"/>
                </a:lnTo>
                <a:lnTo>
                  <a:pt x="11445324" y="939542"/>
                </a:lnTo>
                <a:cubicBezTo>
                  <a:pt x="11456276" y="936118"/>
                  <a:pt x="11466199" y="930980"/>
                  <a:pt x="11475268" y="924644"/>
                </a:cubicBezTo>
                <a:lnTo>
                  <a:pt x="11494474" y="907542"/>
                </a:lnTo>
                <a:lnTo>
                  <a:pt x="11488753" y="926162"/>
                </a:lnTo>
                <a:lnTo>
                  <a:pt x="11464846" y="951842"/>
                </a:lnTo>
                <a:lnTo>
                  <a:pt x="11432834" y="964214"/>
                </a:lnTo>
                <a:lnTo>
                  <a:pt x="11433416" y="964508"/>
                </a:lnTo>
                <a:lnTo>
                  <a:pt x="11427416" y="966826"/>
                </a:lnTo>
                <a:cubicBezTo>
                  <a:pt x="11435751" y="975167"/>
                  <a:pt x="11455198" y="980728"/>
                  <a:pt x="11478812" y="980728"/>
                </a:cubicBezTo>
                <a:cubicBezTo>
                  <a:pt x="11521873" y="980728"/>
                  <a:pt x="11574657" y="968216"/>
                  <a:pt x="11601049" y="940412"/>
                </a:cubicBezTo>
                <a:lnTo>
                  <a:pt x="11600229" y="940299"/>
                </a:lnTo>
                <a:lnTo>
                  <a:pt x="11604054" y="938167"/>
                </a:lnTo>
                <a:cubicBezTo>
                  <a:pt x="11586248" y="938852"/>
                  <a:pt x="11571523" y="933368"/>
                  <a:pt x="11561078" y="923772"/>
                </a:cubicBezTo>
                <a:lnTo>
                  <a:pt x="11546930" y="891807"/>
                </a:lnTo>
                <a:lnTo>
                  <a:pt x="11567885" y="908611"/>
                </a:lnTo>
                <a:cubicBezTo>
                  <a:pt x="11578129" y="913304"/>
                  <a:pt x="11589242" y="915389"/>
                  <a:pt x="11601049" y="915389"/>
                </a:cubicBezTo>
                <a:cubicBezTo>
                  <a:pt x="11619281" y="915389"/>
                  <a:pt x="11636145" y="909719"/>
                  <a:pt x="11650104" y="900067"/>
                </a:cubicBezTo>
                <a:lnTo>
                  <a:pt x="11650828" y="899169"/>
                </a:lnTo>
                <a:lnTo>
                  <a:pt x="11652427" y="898382"/>
                </a:lnTo>
                <a:cubicBezTo>
                  <a:pt x="11666192" y="888863"/>
                  <a:pt x="11677091" y="875417"/>
                  <a:pt x="11683608" y="859705"/>
                </a:cubicBezTo>
                <a:lnTo>
                  <a:pt x="11690343" y="825792"/>
                </a:lnTo>
                <a:lnTo>
                  <a:pt x="11690350" y="825831"/>
                </a:lnTo>
                <a:lnTo>
                  <a:pt x="11690350" y="825754"/>
                </a:lnTo>
                <a:lnTo>
                  <a:pt x="11690350" y="823091"/>
                </a:lnTo>
                <a:cubicBezTo>
                  <a:pt x="11690350" y="768290"/>
                  <a:pt x="11662973" y="721710"/>
                  <a:pt x="11623276" y="684719"/>
                </a:cubicBezTo>
                <a:cubicBezTo>
                  <a:pt x="11608219" y="670334"/>
                  <a:pt x="11591450" y="658004"/>
                  <a:pt x="11573655" y="647215"/>
                </a:cubicBezTo>
                <a:lnTo>
                  <a:pt x="11570681" y="645708"/>
                </a:lnTo>
                <a:lnTo>
                  <a:pt x="11570221" y="645361"/>
                </a:lnTo>
                <a:cubicBezTo>
                  <a:pt x="11552175" y="634420"/>
                  <a:pt x="11533088" y="625042"/>
                  <a:pt x="11513655" y="616706"/>
                </a:cubicBezTo>
                <a:cubicBezTo>
                  <a:pt x="11510878" y="615317"/>
                  <a:pt x="11508102" y="613928"/>
                  <a:pt x="11503938" y="61253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678123"/>
            <a:ext cx="11386134" cy="830997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E84EF3-D086-4872-B447-29CA255B02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22540" y="611982"/>
            <a:ext cx="2267015" cy="509586"/>
            <a:chOff x="9550400" y="612775"/>
            <a:chExt cx="2231297" cy="50165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246E8D9-37F5-42CB-BC0C-F3B7051C922C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6EA2E0C-1F08-4C5C-BD23-AEAC2902BE3F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BD59524-FC2F-4010-84DA-993F7FDF8E39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C87D9DE-F14A-4987-BCDE-FFB5E928DDE8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E592DFD-D940-4FE8-AF9E-A589F49579FF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70586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2EBDB0D-AC97-40F0-9DD9-F997B008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74F36F-3194-40C1-BFCB-D2FC8CB2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4323035" cy="239274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9050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09795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612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7697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292127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TITLE</a:t>
            </a:r>
            <a:endParaRPr lang="en-US" dirty="0"/>
          </a:p>
        </p:txBody>
      </p:sp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98" name="Rectangle 27">
            <a:extLst>
              <a:ext uri="{FF2B5EF4-FFF2-40B4-BE49-F238E27FC236}">
                <a16:creationId xmlns:a16="http://schemas.microsoft.com/office/drawing/2014/main" id="{B1133F59-1301-4D8F-A396-71B6A669F37A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100" name="Rectangle 27">
            <a:extLst>
              <a:ext uri="{FF2B5EF4-FFF2-40B4-BE49-F238E27FC236}">
                <a16:creationId xmlns:a16="http://schemas.microsoft.com/office/drawing/2014/main" id="{777F4691-2D56-47C4-B2B1-73BE348DB06D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3. All rights reserved  |</a:t>
            </a:r>
          </a:p>
        </p:txBody>
      </p:sp>
      <p:sp>
        <p:nvSpPr>
          <p:cNvPr id="99" name="Rectangle 43">
            <a:extLst>
              <a:ext uri="{FF2B5EF4-FFF2-40B4-BE49-F238E27FC236}">
                <a16:creationId xmlns:a16="http://schemas.microsoft.com/office/drawing/2014/main" id="{1302EB1D-4F45-4228-A725-9CA0AEFCE017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8891D2-3771-2804-F385-B49BA7CB5B88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37" y="6544481"/>
            <a:ext cx="219334" cy="25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13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5" r:id="rId2"/>
    <p:sldLayoutId id="2147483964" r:id="rId3"/>
    <p:sldLayoutId id="2147483965" r:id="rId4"/>
    <p:sldLayoutId id="2147484021" r:id="rId5"/>
    <p:sldLayoutId id="2147484020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4026" r:id="rId12"/>
    <p:sldLayoutId id="2147483972" r:id="rId13"/>
    <p:sldLayoutId id="2147483973" r:id="rId14"/>
    <p:sldLayoutId id="2147483974" r:id="rId15"/>
    <p:sldLayoutId id="2147483975" r:id="rId16"/>
    <p:sldLayoutId id="2147483981" r:id="rId17"/>
    <p:sldLayoutId id="2147483983" r:id="rId18"/>
    <p:sldLayoutId id="2147484035" r:id="rId19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10" pos="7423" userDrawn="1">
          <p15:clr>
            <a:srgbClr val="F26B43"/>
          </p15:clr>
        </p15:guide>
        <p15:guide id="11" orient="horz" pos="4071" userDrawn="1">
          <p15:clr>
            <a:srgbClr val="F26B43"/>
          </p15:clr>
        </p15:guide>
        <p15:guide id="12" pos="255" userDrawn="1">
          <p15:clr>
            <a:srgbClr val="F26B43"/>
          </p15:clr>
        </p15:guide>
        <p15:guide id="13" orient="horz" pos="836" userDrawn="1">
          <p15:clr>
            <a:srgbClr val="F26B43"/>
          </p15:clr>
        </p15:guide>
        <p15:guide id="14" orient="horz" pos="245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3899" userDrawn="1">
          <p15:clr>
            <a:srgbClr val="F26B43"/>
          </p15:clr>
        </p15:guide>
        <p15:guide id="17" pos="378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1E738EB-2BD9-45F4-86C2-087B0A42F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8114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1E738EB-2BD9-45F4-86C2-087B0A42F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43">
            <a:extLst>
              <a:ext uri="{FF2B5EF4-FFF2-40B4-BE49-F238E27FC236}">
                <a16:creationId xmlns:a16="http://schemas.microsoft.com/office/drawing/2014/main" id="{4B7DB8DB-0995-4420-B8A8-AF1F22A6AD39}"/>
              </a:ext>
            </a:extLst>
          </p:cNvPr>
          <p:cNvSpPr/>
          <p:nvPr userDrawn="1"/>
        </p:nvSpPr>
        <p:spPr>
          <a:xfrm>
            <a:off x="11760814" y="655922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054DFDA-ADF2-4FC6-8B6E-7DBE5EB41C57}"/>
              </a:ext>
            </a:extLst>
          </p:cNvPr>
          <p:cNvSpPr txBox="1">
            <a:spLocks/>
          </p:cNvSpPr>
          <p:nvPr userDrawn="1"/>
        </p:nvSpPr>
        <p:spPr>
          <a:xfrm>
            <a:off x="576780" y="6499769"/>
            <a:ext cx="38843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/>
              <a:t>CHANEL | PHOENIX </a:t>
            </a:r>
          </a:p>
        </p:txBody>
      </p:sp>
    </p:spTree>
    <p:extLst>
      <p:ext uri="{BB962C8B-B14F-4D97-AF65-F5344CB8AC3E}">
        <p14:creationId xmlns:p14="http://schemas.microsoft.com/office/powerpoint/2010/main" val="4217932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F47D54A4-C657-2E4C-48D2-E7F2D47A3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4" y="2120563"/>
            <a:ext cx="5697136" cy="2363724"/>
          </a:xfrm>
        </p:spPr>
        <p:txBody>
          <a:bodyPr/>
          <a:lstStyle/>
          <a:p>
            <a:pPr algn="ctr"/>
            <a:r>
              <a:rPr lang="en-GB" sz="4800" dirty="0">
                <a:solidFill>
                  <a:srgbClr val="FFFFFF"/>
                </a:solidFill>
              </a:rPr>
              <a:t>     FA-REWORK POWER APPS SOLUTION - POC</a:t>
            </a:r>
          </a:p>
        </p:txBody>
      </p:sp>
      <p:sp>
        <p:nvSpPr>
          <p:cNvPr id="8" name="Subtitle 1">
            <a:extLst>
              <a:ext uri="{FF2B5EF4-FFF2-40B4-BE49-F238E27FC236}">
                <a16:creationId xmlns:a16="http://schemas.microsoft.com/office/drawing/2014/main" id="{868CC9E0-899B-3209-F0BA-1710FF4AB9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9134" y="4531627"/>
            <a:ext cx="5873348" cy="369332"/>
          </a:xfrm>
        </p:spPr>
        <p:txBody>
          <a:bodyPr/>
          <a:lstStyle/>
          <a:p>
            <a:r>
              <a:rPr lang="en-GB" sz="2400" dirty="0"/>
              <a:t>POWER APPS SOLUTION APPROACH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9CD137-6808-08D5-790F-F3F7549F2051}"/>
              </a:ext>
            </a:extLst>
          </p:cNvPr>
          <p:cNvSpPr txBox="1">
            <a:spLocks/>
          </p:cNvSpPr>
          <p:nvPr/>
        </p:nvSpPr>
        <p:spPr>
          <a:xfrm>
            <a:off x="6189134" y="5053359"/>
            <a:ext cx="5873348" cy="369332"/>
          </a:xfrm>
          <a:prstGeom prst="rect">
            <a:avLst/>
          </a:prstGeom>
        </p:spPr>
        <p:txBody>
          <a:bodyPr vert="horz" wrap="square" lIns="36000" tIns="0" rIns="36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accent2"/>
                </a:solidFill>
                <a:latin typeface="Ubuntu Light" panose="020B03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Ubuntu" panose="020B050403060203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February 29</a:t>
            </a:r>
            <a:r>
              <a:rPr lang="en-GB" sz="2400" baseline="30000" dirty="0"/>
              <a:t>th</a:t>
            </a:r>
            <a:r>
              <a:rPr lang="en-GB" sz="2400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344840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19BE4-CF3A-F5B7-3FBB-CD283329E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</a:t>
            </a:r>
            <a:r>
              <a:rPr lang="en-US" b="1" dirty="0"/>
              <a:t>D365</a:t>
            </a:r>
            <a:r>
              <a:rPr lang="en-US" dirty="0"/>
              <a:t> integration with Approach-1, Approach -2 is possible</a:t>
            </a: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CEC8410E-8EF7-74AC-26C6-977A715006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1447799"/>
            <a:ext cx="8266439" cy="410812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1197AC2-B8A9-1859-357B-2FE81D152F22}"/>
              </a:ext>
            </a:extLst>
          </p:cNvPr>
          <p:cNvSpPr/>
          <p:nvPr/>
        </p:nvSpPr>
        <p:spPr>
          <a:xfrm>
            <a:off x="169333" y="1736435"/>
            <a:ext cx="2277534" cy="4020897"/>
          </a:xfrm>
          <a:prstGeom prst="rect">
            <a:avLst/>
          </a:prstGeom>
          <a:solidFill>
            <a:srgbClr val="104BC8"/>
          </a:solidFill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D365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64C01F8-75D4-DEE9-DE3C-7B42F017AF2E}"/>
              </a:ext>
            </a:extLst>
          </p:cNvPr>
          <p:cNvSpPr/>
          <p:nvPr/>
        </p:nvSpPr>
        <p:spPr>
          <a:xfrm>
            <a:off x="2446867" y="1736435"/>
            <a:ext cx="2946401" cy="4020897"/>
          </a:xfrm>
          <a:prstGeom prst="rect">
            <a:avLst/>
          </a:prstGeom>
          <a:gradFill>
            <a:gsLst>
              <a:gs pos="50000">
                <a:schemeClr val="accent6">
                  <a:lumMod val="105000"/>
                  <a:satMod val="103000"/>
                  <a:tint val="73000"/>
                  <a:alpha val="88000"/>
                </a:schemeClr>
              </a:gs>
              <a:gs pos="100000">
                <a:schemeClr val="accent6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9D3C9CB-D3F6-C436-A049-28543F10346E}"/>
              </a:ext>
            </a:extLst>
          </p:cNvPr>
          <p:cNvSpPr/>
          <p:nvPr/>
        </p:nvSpPr>
        <p:spPr>
          <a:xfrm>
            <a:off x="2446867" y="3768436"/>
            <a:ext cx="3021060" cy="24014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AP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C3C5C5-D689-E7F2-C787-F9B1C8A8A616}"/>
              </a:ext>
            </a:extLst>
          </p:cNvPr>
          <p:cNvSpPr txBox="1"/>
          <p:nvPr/>
        </p:nvSpPr>
        <p:spPr>
          <a:xfrm>
            <a:off x="8703733" y="2175933"/>
            <a:ext cx="331893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As D365 and Power platform is closely integrated with d365 connector, both </a:t>
            </a:r>
            <a:r>
              <a:rPr lang="en-IN" b="1" dirty="0"/>
              <a:t>file system and SQL connector is not required. </a:t>
            </a:r>
            <a:r>
              <a:rPr lang="en-IN" dirty="0"/>
              <a:t>Hence </a:t>
            </a:r>
            <a:r>
              <a:rPr lang="en-IN" b="1" dirty="0"/>
              <a:t>both the approach </a:t>
            </a:r>
            <a:r>
              <a:rPr lang="en-IN" dirty="0"/>
              <a:t>can be scaled to integrate with D365 in future.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38284643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70580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61FF1-D1AD-7436-E498-4AA34DF0C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pp Screenshots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44AEDEB1-667D-9E70-D3A0-D78F05E6D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137488"/>
            <a:ext cx="9184474" cy="468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50392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80D15-DAFE-57E8-99B1-090EDC6AA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pp Screenshots</a:t>
            </a:r>
          </a:p>
        </p:txBody>
      </p:sp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087B60D1-1CF6-26CE-D67C-F90B2E760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800" y="1164381"/>
            <a:ext cx="9872133" cy="4988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38868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80D15-DAFE-57E8-99B1-090EDC6AA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pp Screenshot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72C16B7-6EEC-F3E7-29B7-EC8C0AA5B5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" y="947043"/>
            <a:ext cx="10456333" cy="5383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8446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FEA67E54-D889-188F-1EC8-38A1BF87104C}"/>
              </a:ext>
            </a:extLst>
          </p:cNvPr>
          <p:cNvGrpSpPr/>
          <p:nvPr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pic>
          <p:nvPicPr>
            <p:cNvPr id="4" name="Picture 3" descr="A person wearing a hat&#10;&#10;Description automatically generated with medium confidence">
              <a:extLst>
                <a:ext uri="{FF2B5EF4-FFF2-40B4-BE49-F238E27FC236}">
                  <a16:creationId xmlns:a16="http://schemas.microsoft.com/office/drawing/2014/main" id="{F01CD51A-4731-6DF5-58D2-B290F6650E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"/>
              <a:ext cx="6189663" cy="6858000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E53A5A9-FE1C-C763-B852-EB5FFF6D7337}"/>
                </a:ext>
              </a:extLst>
            </p:cNvPr>
            <p:cNvSpPr/>
            <p:nvPr/>
          </p:nvSpPr>
          <p:spPr>
            <a:xfrm>
              <a:off x="2489200" y="0"/>
              <a:ext cx="3700463" cy="6858000"/>
            </a:xfrm>
            <a:prstGeom prst="rect">
              <a:avLst/>
            </a:prstGeom>
            <a:gradFill>
              <a:gsLst>
                <a:gs pos="100000">
                  <a:schemeClr val="tx1">
                    <a:alpha val="0"/>
                  </a:schemeClr>
                </a:gs>
                <a:gs pos="1000">
                  <a:schemeClr val="tx1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50FD49F-7117-0F79-DFC9-F953588826D8}"/>
                </a:ext>
              </a:extLst>
            </p:cNvPr>
            <p:cNvSpPr/>
            <p:nvPr/>
          </p:nvSpPr>
          <p:spPr>
            <a:xfrm>
              <a:off x="6189663" y="0"/>
              <a:ext cx="6002337" cy="685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3B853049-73BE-50B3-9DEE-D3E467071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774" y="870789"/>
            <a:ext cx="5536626" cy="716711"/>
          </a:xfrm>
        </p:spPr>
        <p:txBody>
          <a:bodyPr/>
          <a:lstStyle/>
          <a:p>
            <a:r>
              <a:rPr lang="en-US" sz="5400" dirty="0"/>
              <a:t>AGENDA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635ECAE1-B7CF-73E3-FE99-A8ADE7DEBBE5}"/>
              </a:ext>
            </a:extLst>
          </p:cNvPr>
          <p:cNvSpPr/>
          <p:nvPr/>
        </p:nvSpPr>
        <p:spPr>
          <a:xfrm rot="16200000">
            <a:off x="6685190" y="2022758"/>
            <a:ext cx="242410" cy="163739"/>
          </a:xfrm>
          <a:custGeom>
            <a:avLst/>
            <a:gdLst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495" h="148590">
                <a:moveTo>
                  <a:pt x="0" y="0"/>
                </a:moveTo>
                <a:lnTo>
                  <a:pt x="150495" y="0"/>
                </a:lnTo>
                <a:cubicBezTo>
                  <a:pt x="93345" y="68580"/>
                  <a:pt x="104775" y="116205"/>
                  <a:pt x="150495" y="148590"/>
                </a:cubicBezTo>
                <a:lnTo>
                  <a:pt x="0" y="148590"/>
                </a:lnTo>
                <a:cubicBezTo>
                  <a:pt x="47625" y="110490"/>
                  <a:pt x="68580" y="6096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AC9F5E8C-6152-77EF-08F9-D40996DB5CF6}"/>
              </a:ext>
            </a:extLst>
          </p:cNvPr>
          <p:cNvSpPr/>
          <p:nvPr/>
        </p:nvSpPr>
        <p:spPr>
          <a:xfrm>
            <a:off x="6299774" y="1862533"/>
            <a:ext cx="483506" cy="484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1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215FA417-CCC4-5D30-1667-F21663C82265}"/>
              </a:ext>
            </a:extLst>
          </p:cNvPr>
          <p:cNvSpPr/>
          <p:nvPr/>
        </p:nvSpPr>
        <p:spPr>
          <a:xfrm rot="16200000">
            <a:off x="6685190" y="2718985"/>
            <a:ext cx="242410" cy="163739"/>
          </a:xfrm>
          <a:custGeom>
            <a:avLst/>
            <a:gdLst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495" h="148590">
                <a:moveTo>
                  <a:pt x="0" y="0"/>
                </a:moveTo>
                <a:lnTo>
                  <a:pt x="150495" y="0"/>
                </a:lnTo>
                <a:cubicBezTo>
                  <a:pt x="93345" y="68580"/>
                  <a:pt x="104775" y="116205"/>
                  <a:pt x="150495" y="148590"/>
                </a:cubicBezTo>
                <a:lnTo>
                  <a:pt x="0" y="148590"/>
                </a:lnTo>
                <a:cubicBezTo>
                  <a:pt x="47625" y="110490"/>
                  <a:pt x="68580" y="6096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id="{9DF902F2-7915-749C-11D7-D6EDD55DB3A5}"/>
              </a:ext>
            </a:extLst>
          </p:cNvPr>
          <p:cNvSpPr/>
          <p:nvPr/>
        </p:nvSpPr>
        <p:spPr>
          <a:xfrm>
            <a:off x="6299774" y="2558760"/>
            <a:ext cx="483506" cy="484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2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AEFE5347-F353-9E8B-EF57-080471A58A52}"/>
              </a:ext>
            </a:extLst>
          </p:cNvPr>
          <p:cNvSpPr/>
          <p:nvPr/>
        </p:nvSpPr>
        <p:spPr>
          <a:xfrm rot="16200000">
            <a:off x="6685190" y="3415212"/>
            <a:ext cx="242410" cy="163739"/>
          </a:xfrm>
          <a:custGeom>
            <a:avLst/>
            <a:gdLst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495" h="148590">
                <a:moveTo>
                  <a:pt x="0" y="0"/>
                </a:moveTo>
                <a:lnTo>
                  <a:pt x="150495" y="0"/>
                </a:lnTo>
                <a:cubicBezTo>
                  <a:pt x="93345" y="68580"/>
                  <a:pt x="104775" y="116205"/>
                  <a:pt x="150495" y="148590"/>
                </a:cubicBezTo>
                <a:lnTo>
                  <a:pt x="0" y="148590"/>
                </a:lnTo>
                <a:cubicBezTo>
                  <a:pt x="47625" y="110490"/>
                  <a:pt x="68580" y="6096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23526883-C6FF-FD53-2721-BB653545FB35}"/>
              </a:ext>
            </a:extLst>
          </p:cNvPr>
          <p:cNvSpPr/>
          <p:nvPr/>
        </p:nvSpPr>
        <p:spPr>
          <a:xfrm>
            <a:off x="6299774" y="3254987"/>
            <a:ext cx="483506" cy="484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3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05A2C9DD-9FF1-FEC9-38DC-C8657AB626B9}"/>
              </a:ext>
            </a:extLst>
          </p:cNvPr>
          <p:cNvSpPr/>
          <p:nvPr/>
        </p:nvSpPr>
        <p:spPr>
          <a:xfrm rot="16200000">
            <a:off x="6685190" y="4111439"/>
            <a:ext cx="242410" cy="163739"/>
          </a:xfrm>
          <a:custGeom>
            <a:avLst/>
            <a:gdLst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495" h="148590">
                <a:moveTo>
                  <a:pt x="0" y="0"/>
                </a:moveTo>
                <a:lnTo>
                  <a:pt x="150495" y="0"/>
                </a:lnTo>
                <a:cubicBezTo>
                  <a:pt x="93345" y="68580"/>
                  <a:pt x="104775" y="116205"/>
                  <a:pt x="150495" y="148590"/>
                </a:cubicBezTo>
                <a:lnTo>
                  <a:pt x="0" y="148590"/>
                </a:lnTo>
                <a:cubicBezTo>
                  <a:pt x="47625" y="110490"/>
                  <a:pt x="68580" y="6096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Oval 20">
            <a:extLst>
              <a:ext uri="{FF2B5EF4-FFF2-40B4-BE49-F238E27FC236}">
                <a16:creationId xmlns:a16="http://schemas.microsoft.com/office/drawing/2014/main" id="{1FF33799-BF45-C80F-2914-9FB6D18BFF19}"/>
              </a:ext>
            </a:extLst>
          </p:cNvPr>
          <p:cNvSpPr/>
          <p:nvPr/>
        </p:nvSpPr>
        <p:spPr>
          <a:xfrm>
            <a:off x="6299774" y="3951214"/>
            <a:ext cx="483506" cy="484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4</a:t>
            </a: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043DA366-B72F-631F-1E11-2B4DA3F76411}"/>
              </a:ext>
            </a:extLst>
          </p:cNvPr>
          <p:cNvSpPr/>
          <p:nvPr/>
        </p:nvSpPr>
        <p:spPr>
          <a:xfrm rot="16200000">
            <a:off x="6685190" y="4807666"/>
            <a:ext cx="242410" cy="163739"/>
          </a:xfrm>
          <a:custGeom>
            <a:avLst/>
            <a:gdLst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  <a:gd name="connsiteX0" fmla="*/ 0 w 150495"/>
              <a:gd name="connsiteY0" fmla="*/ 0 h 148590"/>
              <a:gd name="connsiteX1" fmla="*/ 150495 w 150495"/>
              <a:gd name="connsiteY1" fmla="*/ 0 h 148590"/>
              <a:gd name="connsiteX2" fmla="*/ 150495 w 150495"/>
              <a:gd name="connsiteY2" fmla="*/ 148590 h 148590"/>
              <a:gd name="connsiteX3" fmla="*/ 0 w 150495"/>
              <a:gd name="connsiteY3" fmla="*/ 148590 h 148590"/>
              <a:gd name="connsiteX4" fmla="*/ 0 w 150495"/>
              <a:gd name="connsiteY4" fmla="*/ 0 h 148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495" h="148590">
                <a:moveTo>
                  <a:pt x="0" y="0"/>
                </a:moveTo>
                <a:lnTo>
                  <a:pt x="150495" y="0"/>
                </a:lnTo>
                <a:cubicBezTo>
                  <a:pt x="93345" y="68580"/>
                  <a:pt x="104775" y="116205"/>
                  <a:pt x="150495" y="148590"/>
                </a:cubicBezTo>
                <a:lnTo>
                  <a:pt x="0" y="148590"/>
                </a:lnTo>
                <a:cubicBezTo>
                  <a:pt x="47625" y="110490"/>
                  <a:pt x="68580" y="6096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97DFE090-42C9-E2D7-F225-D59838CEB9CA}"/>
              </a:ext>
            </a:extLst>
          </p:cNvPr>
          <p:cNvSpPr/>
          <p:nvPr/>
        </p:nvSpPr>
        <p:spPr>
          <a:xfrm>
            <a:off x="6299774" y="4647441"/>
            <a:ext cx="483506" cy="484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5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FF2C294B-B88E-E37A-2319-586CBFBCAC25}"/>
              </a:ext>
            </a:extLst>
          </p:cNvPr>
          <p:cNvSpPr txBox="1">
            <a:spLocks/>
          </p:cNvSpPr>
          <p:nvPr/>
        </p:nvSpPr>
        <p:spPr>
          <a:xfrm>
            <a:off x="6851752" y="1864780"/>
            <a:ext cx="4856276" cy="479695"/>
          </a:xfrm>
          <a:prstGeom prst="roundRect">
            <a:avLst>
              <a:gd name="adj" fmla="val 50000"/>
            </a:avLst>
          </a:prstGeom>
          <a:solidFill>
            <a:srgbClr val="000000"/>
          </a:solidFill>
          <a:ln>
            <a:gradFill flip="none" rotWithShape="1">
              <a:gsLst>
                <a:gs pos="42000">
                  <a:schemeClr val="accent2"/>
                </a:gs>
                <a:gs pos="92000">
                  <a:schemeClr val="accent2"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vert="horz" lIns="7200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400" dirty="0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0A4D11-4FBA-1F4A-F2F5-FA73472CD889}"/>
              </a:ext>
            </a:extLst>
          </p:cNvPr>
          <p:cNvSpPr txBox="1">
            <a:spLocks/>
          </p:cNvSpPr>
          <p:nvPr/>
        </p:nvSpPr>
        <p:spPr>
          <a:xfrm>
            <a:off x="6851752" y="2561007"/>
            <a:ext cx="4856276" cy="479695"/>
          </a:xfrm>
          <a:prstGeom prst="roundRect">
            <a:avLst>
              <a:gd name="adj" fmla="val 50000"/>
            </a:avLst>
          </a:prstGeom>
          <a:solidFill>
            <a:srgbClr val="000000"/>
          </a:solidFill>
          <a:ln>
            <a:gradFill flip="none" rotWithShape="1">
              <a:gsLst>
                <a:gs pos="42000">
                  <a:schemeClr val="accent2"/>
                </a:gs>
                <a:gs pos="92000">
                  <a:schemeClr val="accent2"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vert="horz" lIns="7200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400" dirty="0">
                <a:solidFill>
                  <a:schemeClr val="bg1"/>
                </a:solidFill>
              </a:rPr>
              <a:t>Solution Desig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5738971-E49C-19F3-7EB9-141262FEC23C}"/>
              </a:ext>
            </a:extLst>
          </p:cNvPr>
          <p:cNvSpPr txBox="1">
            <a:spLocks/>
          </p:cNvSpPr>
          <p:nvPr/>
        </p:nvSpPr>
        <p:spPr>
          <a:xfrm>
            <a:off x="6851752" y="3257234"/>
            <a:ext cx="4856276" cy="479695"/>
          </a:xfrm>
          <a:prstGeom prst="roundRect">
            <a:avLst>
              <a:gd name="adj" fmla="val 50000"/>
            </a:avLst>
          </a:prstGeom>
          <a:solidFill>
            <a:srgbClr val="000000"/>
          </a:solidFill>
          <a:ln>
            <a:gradFill flip="none" rotWithShape="1">
              <a:gsLst>
                <a:gs pos="42000">
                  <a:schemeClr val="accent2"/>
                </a:gs>
                <a:gs pos="92000">
                  <a:schemeClr val="accent2"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vert="horz" lIns="7200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400" dirty="0">
                <a:solidFill>
                  <a:schemeClr val="bg1"/>
                </a:solidFill>
              </a:rPr>
              <a:t>Difference between both approach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3050D15E-FE02-1736-561F-68552B62FBA3}"/>
              </a:ext>
            </a:extLst>
          </p:cNvPr>
          <p:cNvSpPr txBox="1">
            <a:spLocks/>
          </p:cNvSpPr>
          <p:nvPr/>
        </p:nvSpPr>
        <p:spPr>
          <a:xfrm>
            <a:off x="6851752" y="3953461"/>
            <a:ext cx="4856276" cy="479695"/>
          </a:xfrm>
          <a:prstGeom prst="roundRect">
            <a:avLst>
              <a:gd name="adj" fmla="val 50000"/>
            </a:avLst>
          </a:prstGeom>
          <a:solidFill>
            <a:srgbClr val="000000"/>
          </a:solidFill>
          <a:ln>
            <a:gradFill flip="none" rotWithShape="1">
              <a:gsLst>
                <a:gs pos="42000">
                  <a:schemeClr val="accent2"/>
                </a:gs>
                <a:gs pos="92000">
                  <a:schemeClr val="accent2"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vert="horz" lIns="7200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400" dirty="0">
                <a:solidFill>
                  <a:schemeClr val="bg1"/>
                </a:solidFill>
              </a:rPr>
              <a:t>Risk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98502AE9-2A39-0291-3BA7-760FF69932AA}"/>
              </a:ext>
            </a:extLst>
          </p:cNvPr>
          <p:cNvSpPr txBox="1">
            <a:spLocks/>
          </p:cNvSpPr>
          <p:nvPr/>
        </p:nvSpPr>
        <p:spPr>
          <a:xfrm>
            <a:off x="6851752" y="4649688"/>
            <a:ext cx="4856276" cy="479695"/>
          </a:xfrm>
          <a:prstGeom prst="roundRect">
            <a:avLst>
              <a:gd name="adj" fmla="val 50000"/>
            </a:avLst>
          </a:prstGeom>
          <a:solidFill>
            <a:srgbClr val="000000"/>
          </a:solidFill>
          <a:ln>
            <a:gradFill flip="none" rotWithShape="1">
              <a:gsLst>
                <a:gs pos="42000">
                  <a:schemeClr val="accent2"/>
                </a:gs>
                <a:gs pos="92000">
                  <a:schemeClr val="accent2"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vert="horz" lIns="7200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336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38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0563" indent="-2333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400" dirty="0">
                <a:solidFill>
                  <a:schemeClr val="bg1"/>
                </a:solidFill>
              </a:rPr>
              <a:t>Future D365 integration 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CADBCC5C-B03A-0F41-9F25-6BBA431A7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8076847">
            <a:off x="119171" y="2921403"/>
            <a:ext cx="5967286" cy="2530221"/>
          </a:xfrm>
          <a:prstGeom prst="rect">
            <a:avLst/>
          </a:prstGeom>
        </p:spPr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id="{61BB6336-543B-95E3-1A30-AABE52CA2C24}"/>
              </a:ext>
            </a:extLst>
          </p:cNvPr>
          <p:cNvGrpSpPr/>
          <p:nvPr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3" name="Freeform 13">
              <a:extLst>
                <a:ext uri="{FF2B5EF4-FFF2-40B4-BE49-F238E27FC236}">
                  <a16:creationId xmlns:a16="http://schemas.microsoft.com/office/drawing/2014/main" id="{E346D023-22E2-2D6F-6B6A-299C7D5C26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8A193377-A35B-A4E0-BC26-4B9E0CD826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Rectangle 27">
            <a:extLst>
              <a:ext uri="{FF2B5EF4-FFF2-40B4-BE49-F238E27FC236}">
                <a16:creationId xmlns:a16="http://schemas.microsoft.com/office/drawing/2014/main" id="{82D2A538-B19E-BC93-DED1-BF09C1B022CF}"/>
              </a:ext>
            </a:extLst>
          </p:cNvPr>
          <p:cNvSpPr/>
          <p:nvPr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27" name="Rectangle 27">
            <a:extLst>
              <a:ext uri="{FF2B5EF4-FFF2-40B4-BE49-F238E27FC236}">
                <a16:creationId xmlns:a16="http://schemas.microsoft.com/office/drawing/2014/main" id="{5120F411-4DFC-6027-F0FD-6B124BCFD054}"/>
              </a:ext>
            </a:extLst>
          </p:cNvPr>
          <p:cNvSpPr/>
          <p:nvPr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3. All rights reserved  |</a:t>
            </a:r>
          </a:p>
        </p:txBody>
      </p:sp>
      <p:sp>
        <p:nvSpPr>
          <p:cNvPr id="28" name="Rectangle 43">
            <a:extLst>
              <a:ext uri="{FF2B5EF4-FFF2-40B4-BE49-F238E27FC236}">
                <a16:creationId xmlns:a16="http://schemas.microsoft.com/office/drawing/2014/main" id="{1725925C-87E4-12D0-B9B2-3C771CB37BEE}"/>
              </a:ext>
            </a:extLst>
          </p:cNvPr>
          <p:cNvSpPr/>
          <p:nvPr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2</a:t>
            </a:fld>
            <a:endParaRPr lang="en-US" sz="800" dirty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5DEE7854-44AB-14F6-7B54-578DE3BD696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37" y="6544481"/>
            <a:ext cx="219334" cy="25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90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78DF7B-E567-9E4C-C3B0-04ABCFC9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mmary – Benefits of Both approach 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A8A11E-73AD-2839-2D87-76B70DD636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0222835"/>
              </p:ext>
            </p:extLst>
          </p:nvPr>
        </p:nvGraphicFramePr>
        <p:xfrm>
          <a:off x="673099" y="1066799"/>
          <a:ext cx="10642601" cy="532093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660650">
                  <a:extLst>
                    <a:ext uri="{9D8B030D-6E8A-4147-A177-3AD203B41FA5}">
                      <a16:colId xmlns:a16="http://schemas.microsoft.com/office/drawing/2014/main" val="1793423184"/>
                    </a:ext>
                  </a:extLst>
                </a:gridCol>
                <a:gridCol w="3304118">
                  <a:extLst>
                    <a:ext uri="{9D8B030D-6E8A-4147-A177-3AD203B41FA5}">
                      <a16:colId xmlns:a16="http://schemas.microsoft.com/office/drawing/2014/main" val="3325821324"/>
                    </a:ext>
                  </a:extLst>
                </a:gridCol>
                <a:gridCol w="3433234">
                  <a:extLst>
                    <a:ext uri="{9D8B030D-6E8A-4147-A177-3AD203B41FA5}">
                      <a16:colId xmlns:a16="http://schemas.microsoft.com/office/drawing/2014/main" val="2666779430"/>
                    </a:ext>
                  </a:extLst>
                </a:gridCol>
                <a:gridCol w="1244599">
                  <a:extLst>
                    <a:ext uri="{9D8B030D-6E8A-4147-A177-3AD203B41FA5}">
                      <a16:colId xmlns:a16="http://schemas.microsoft.com/office/drawing/2014/main" val="139242587"/>
                    </a:ext>
                  </a:extLst>
                </a:gridCol>
              </a:tblGrid>
              <a:tr h="674914"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pproach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pproach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Refer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7507380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fits / dis-benefits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Reusable Solution for similar project (lesser development cost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Scalable Solution for D36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Apollo development need to be re-developed for similar solu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Scalable Solution for D36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IN" sz="1400" dirty="0"/>
                        <a:t>Slide 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50699395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s (excluding software License Cost &amp; AX Stored Procedure) 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ower Platform Development – </a:t>
                      </a:r>
                      <a:r>
                        <a:rPr lang="en-IN" sz="1400" b="1" dirty="0"/>
                        <a:t>€ 20,053 (36.5 M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Power Platform Development - </a:t>
                      </a:r>
                      <a:r>
                        <a:rPr lang="en-IN" sz="1400" b="1" dirty="0"/>
                        <a:t>€ 19,328 </a:t>
                      </a:r>
                      <a:r>
                        <a:rPr lang="en-IN" sz="1400" dirty="0"/>
                        <a:t>(31.5 MD)</a:t>
                      </a:r>
                    </a:p>
                    <a:p>
                      <a:r>
                        <a:rPr lang="en-IN" sz="1400" dirty="0"/>
                        <a:t>+ Apollo - </a:t>
                      </a:r>
                      <a:r>
                        <a:rPr lang="en-IN" sz="1400" b="1" dirty="0"/>
                        <a:t>€4,321.09 </a:t>
                      </a:r>
                      <a:r>
                        <a:rPr lang="en-IN" sz="1400" dirty="0"/>
                        <a:t>(14.57 M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8676780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dirty="0"/>
                        <a:t>Cost ( Support + Maintenance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Less Cost due to 2 tea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More costly Due to 3 team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lide 0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4145972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ks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Equal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Equal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lide 0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5583136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keholder impact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No-Impact , </a:t>
                      </a:r>
                      <a:r>
                        <a:rPr lang="en-IN" sz="1400" b="1" dirty="0"/>
                        <a:t>Less c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No-Impact, </a:t>
                      </a:r>
                      <a:r>
                        <a:rPr lang="en-IN" sz="1400" b="1" dirty="0"/>
                        <a:t>More cost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4366390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endParaRPr lang="en-IN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Less Costly in Long ter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Effective use of PP Licen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Faster development/re-development (one Tea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Reduced Testing effort ( tested approach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Costly re-development for new project (not re-usabl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8519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63676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9A357E8-0A05-06F5-344F-B70B90C808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7E27B0C-0ACE-7A1E-E6AD-8223EE791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401124"/>
            <a:ext cx="11386134" cy="1107996"/>
          </a:xfrm>
        </p:spPr>
        <p:txBody>
          <a:bodyPr/>
          <a:lstStyle/>
          <a:p>
            <a:r>
              <a:rPr lang="en-IN" dirty="0"/>
              <a:t>Detail slides</a:t>
            </a:r>
          </a:p>
        </p:txBody>
      </p:sp>
    </p:spTree>
    <p:extLst>
      <p:ext uri="{BB962C8B-B14F-4D97-AF65-F5344CB8AC3E}">
        <p14:creationId xmlns:p14="http://schemas.microsoft.com/office/powerpoint/2010/main" val="3135643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19BE4-CF3A-F5B7-3FBB-CD283329E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X+ Power Platform </a:t>
            </a:r>
            <a:r>
              <a:rPr lang="en-US" dirty="0"/>
              <a:t>Solution – Approach 1</a:t>
            </a: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CEC8410E-8EF7-74AC-26C6-977A715006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33" y="1447799"/>
            <a:ext cx="7831667" cy="3892061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6B3F962-0E43-4AFE-C304-D3D27B3BD0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82137"/>
              </p:ext>
            </p:extLst>
          </p:nvPr>
        </p:nvGraphicFramePr>
        <p:xfrm>
          <a:off x="8339668" y="1772304"/>
          <a:ext cx="3369734" cy="3439758"/>
        </p:xfrm>
        <a:graphic>
          <a:graphicData uri="http://schemas.openxmlformats.org/drawingml/2006/table">
            <a:tbl>
              <a:tblPr firstRow="1" firstCol="1" bandRow="1">
                <a:tableStyleId>{073A0DAA-6AF3-43AB-8588-CEC1D06C72B9}</a:tableStyleId>
              </a:tblPr>
              <a:tblGrid>
                <a:gridCol w="457199">
                  <a:extLst>
                    <a:ext uri="{9D8B030D-6E8A-4147-A177-3AD203B41FA5}">
                      <a16:colId xmlns:a16="http://schemas.microsoft.com/office/drawing/2014/main" val="1832024261"/>
                    </a:ext>
                  </a:extLst>
                </a:gridCol>
                <a:gridCol w="1286934">
                  <a:extLst>
                    <a:ext uri="{9D8B030D-6E8A-4147-A177-3AD203B41FA5}">
                      <a16:colId xmlns:a16="http://schemas.microsoft.com/office/drawing/2014/main" val="3507611131"/>
                    </a:ext>
                  </a:extLst>
                </a:gridCol>
                <a:gridCol w="1625601">
                  <a:extLst>
                    <a:ext uri="{9D8B030D-6E8A-4147-A177-3AD203B41FA5}">
                      <a16:colId xmlns:a16="http://schemas.microsoft.com/office/drawing/2014/main" val="2785117578"/>
                    </a:ext>
                  </a:extLst>
                </a:gridCol>
              </a:tblGrid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r#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Components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Values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56750859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1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*.CSV File from ORLI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Path 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09536687"/>
                  </a:ext>
                </a:extLst>
              </a:tr>
              <a:tr h="29525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2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 err="1">
                          <a:effectLst/>
                        </a:rPr>
                        <a:t>Datagateway</a:t>
                      </a:r>
                      <a:r>
                        <a:rPr lang="en-US" sz="800" dirty="0">
                          <a:effectLst/>
                        </a:rPr>
                        <a:t> 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A-</a:t>
                      </a:r>
                      <a:r>
                        <a:rPr lang="en-US" sz="800" dirty="0" err="1">
                          <a:effectLst/>
                        </a:rPr>
                        <a:t>APACFARework_DGW</a:t>
                      </a:r>
                      <a:r>
                        <a:rPr lang="en-US" sz="800" dirty="0">
                          <a:effectLst/>
                        </a:rPr>
                        <a:t> </a:t>
                      </a:r>
                    </a:p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( </a:t>
                      </a:r>
                      <a:r>
                        <a:rPr lang="en-US" sz="800" dirty="0" err="1">
                          <a:effectLst/>
                        </a:rPr>
                        <a:t>hyperautomation</a:t>
                      </a:r>
                      <a:r>
                        <a:rPr lang="en-US" sz="800" dirty="0">
                          <a:effectLst/>
                        </a:rPr>
                        <a:t>)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59172375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ervice account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A-</a:t>
                      </a:r>
                      <a:r>
                        <a:rPr lang="en-US" sz="800" dirty="0" err="1">
                          <a:effectLst/>
                        </a:rPr>
                        <a:t>APACFARework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27658574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3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FILE System connector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PowerApps FILE system connector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38630010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4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*.CSV File on OneDriv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XXXX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46233383"/>
                  </a:ext>
                </a:extLst>
              </a:tr>
              <a:tr h="194140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5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Power automate job to read file and update Dataverse tabl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>
                          <a:effectLst/>
                        </a:rPr>
                        <a:t>XXXXXXXXXX</a:t>
                      </a:r>
                      <a:endParaRPr lang="en-IN" sz="80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6812482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6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Dataverse databas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Table 1 : </a:t>
                      </a:r>
                    </a:p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Table 2: 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62498551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7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QL stored Procedur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18966514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8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SQL connector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Execute stored procedure connector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64169647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9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Power App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 err="1">
                          <a:effectLst/>
                        </a:rPr>
                        <a:t>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29055525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10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Generate PDF report using word templat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PDF </a:t>
                      </a:r>
                      <a:r>
                        <a:rPr lang="en-IN" sz="800" dirty="0" err="1">
                          <a:effectLst/>
                        </a:rPr>
                        <a:t>Reoprt</a:t>
                      </a:r>
                      <a:r>
                        <a:rPr lang="en-IN" sz="800" dirty="0">
                          <a:effectLst/>
                        </a:rPr>
                        <a:t> (option-1)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46134367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11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Generate Excel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Excel report (option-2)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14574379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12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Send PDF/EXL report as attachment by mail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Power Automate Send email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7318863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9E913C7-206B-9B01-FAE6-F1C155DB51FB}"/>
              </a:ext>
            </a:extLst>
          </p:cNvPr>
          <p:cNvSpPr txBox="1"/>
          <p:nvPr/>
        </p:nvSpPr>
        <p:spPr>
          <a:xfrm>
            <a:off x="8339668" y="1447799"/>
            <a:ext cx="19981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/>
              <a:t>Component list 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271477B-2E5D-79D4-8D7F-9C8DC65F60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763554"/>
              </p:ext>
            </p:extLst>
          </p:nvPr>
        </p:nvGraphicFramePr>
        <p:xfrm>
          <a:off x="411479" y="5474085"/>
          <a:ext cx="6096000" cy="75984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18359446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421938023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371736788"/>
                    </a:ext>
                  </a:extLst>
                </a:gridCol>
              </a:tblGrid>
              <a:tr h="247638">
                <a:tc>
                  <a:txBody>
                    <a:bodyPr/>
                    <a:lstStyle/>
                    <a:p>
                      <a:r>
                        <a:rPr lang="en-IN" sz="800" dirty="0"/>
                        <a:t>Power Automate </a:t>
                      </a:r>
                      <a:r>
                        <a:rPr lang="en-IN" sz="800" dirty="0" err="1"/>
                        <a:t>Trigers</a:t>
                      </a:r>
                      <a:r>
                        <a:rPr lang="en-IN" sz="800" dirty="0"/>
                        <a:t> / 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Trig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Frequ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371383"/>
                  </a:ext>
                </a:extLst>
              </a:tr>
              <a:tr h="256104">
                <a:tc>
                  <a:txBody>
                    <a:bodyPr/>
                    <a:lstStyle/>
                    <a:p>
                      <a:r>
                        <a:rPr lang="en-IN" sz="800" dirty="0"/>
                        <a:t>ORLI 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When a new file arriv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Once in a 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0326769"/>
                  </a:ext>
                </a:extLst>
              </a:tr>
              <a:tr h="256104">
                <a:tc>
                  <a:txBody>
                    <a:bodyPr/>
                    <a:lstStyle/>
                    <a:p>
                      <a:r>
                        <a:rPr lang="en-IN" sz="800" dirty="0"/>
                        <a:t>Data From Stored Proced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Schedule Trig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Once in every 4 h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3803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5587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19BE4-CF3A-F5B7-3FBB-CD283329E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X + Apollo + Power Platform </a:t>
            </a:r>
            <a:r>
              <a:rPr lang="en-US" dirty="0"/>
              <a:t>Solution – Approach 2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AD6FD2B-7134-D2F2-6B66-B4D8DC2071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528635"/>
              </p:ext>
            </p:extLst>
          </p:nvPr>
        </p:nvGraphicFramePr>
        <p:xfrm>
          <a:off x="8614869" y="1709121"/>
          <a:ext cx="3463792" cy="3960880"/>
        </p:xfrm>
        <a:graphic>
          <a:graphicData uri="http://schemas.openxmlformats.org/drawingml/2006/table">
            <a:tbl>
              <a:tblPr firstRow="1" firstCol="1" bandRow="1">
                <a:tableStyleId>{073A0DAA-6AF3-43AB-8588-CEC1D06C72B9}</a:tableStyleId>
              </a:tblPr>
              <a:tblGrid>
                <a:gridCol w="403701">
                  <a:extLst>
                    <a:ext uri="{9D8B030D-6E8A-4147-A177-3AD203B41FA5}">
                      <a16:colId xmlns:a16="http://schemas.microsoft.com/office/drawing/2014/main" val="1832024261"/>
                    </a:ext>
                  </a:extLst>
                </a:gridCol>
                <a:gridCol w="1566539">
                  <a:extLst>
                    <a:ext uri="{9D8B030D-6E8A-4147-A177-3AD203B41FA5}">
                      <a16:colId xmlns:a16="http://schemas.microsoft.com/office/drawing/2014/main" val="3507611131"/>
                    </a:ext>
                  </a:extLst>
                </a:gridCol>
                <a:gridCol w="1493552">
                  <a:extLst>
                    <a:ext uri="{9D8B030D-6E8A-4147-A177-3AD203B41FA5}">
                      <a16:colId xmlns:a16="http://schemas.microsoft.com/office/drawing/2014/main" val="2785117578"/>
                    </a:ext>
                  </a:extLst>
                </a:gridCol>
              </a:tblGrid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r#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Components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Values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56750859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1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*.CSV File from ORLI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Path 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09536687"/>
                  </a:ext>
                </a:extLst>
              </a:tr>
              <a:tr h="29525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2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Apollo 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Apollo Gateway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59172375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ervice account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 err="1">
                          <a:effectLst/>
                        </a:rPr>
                        <a:t>Apollo_service_Account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27658574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Apollo End Point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OneDrive folder path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46233383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*.CSV File on OneDriv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XXXX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86512025"/>
                  </a:ext>
                </a:extLst>
              </a:tr>
              <a:tr h="194140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Power automate job to read file and update Dataverse tabl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XXXXXX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6812482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Dataverse databas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Table 1 : </a:t>
                      </a:r>
                    </a:p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Table 2: 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62498551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SQL stored Procedur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18966514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Apollo Execute Stored procedure generate *.CSV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Execute stored procedure 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64169647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Apollo End Point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OneDrive Folder Path for status data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29055525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*.CSV file with Invoice status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 err="1">
                          <a:effectLst/>
                        </a:rPr>
                        <a:t>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82344575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Power automate job to read file and update Dataverse tabl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800" dirty="0">
                          <a:effectLst/>
                        </a:rPr>
                        <a:t>XXXXXX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71722247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Power App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 err="1">
                          <a:effectLst/>
                        </a:rPr>
                        <a:t>Xxxx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58029180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Generate PDF report using word template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PDF </a:t>
                      </a:r>
                      <a:r>
                        <a:rPr lang="en-IN" sz="800" dirty="0" err="1">
                          <a:effectLst/>
                        </a:rPr>
                        <a:t>Reoprt</a:t>
                      </a:r>
                      <a:r>
                        <a:rPr lang="en-IN" sz="800" dirty="0">
                          <a:effectLst/>
                        </a:rPr>
                        <a:t> (option-1)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46134367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Generate Excel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Excel report (option-2)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14574379"/>
                  </a:ext>
                </a:extLst>
              </a:tr>
              <a:tr h="176434"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  <a:latin typeface="Trebuchet MS" panose="020B0603020202020204" pitchFamily="34" charset="0"/>
                          <a:ea typeface="PMingLiU" panose="02020500000000000000" pitchFamily="18" charset="-12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Send PDF/EXL report as attachment by mail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IN" sz="800" dirty="0">
                          <a:effectLst/>
                        </a:rPr>
                        <a:t>Power Automate Send email</a:t>
                      </a:r>
                      <a:endParaRPr lang="en-IN" sz="800" dirty="0">
                        <a:effectLst/>
                        <a:latin typeface="Trebuchet MS" panose="020B0603020202020204" pitchFamily="34" charset="0"/>
                        <a:ea typeface="PMingLiU" panose="02020500000000000000" pitchFamily="18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7318863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47901A2-9ADD-1C9A-4781-D58AB83C9BC1}"/>
              </a:ext>
            </a:extLst>
          </p:cNvPr>
          <p:cNvSpPr txBox="1"/>
          <p:nvPr/>
        </p:nvSpPr>
        <p:spPr>
          <a:xfrm>
            <a:off x="8614869" y="1415188"/>
            <a:ext cx="19981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/>
              <a:t>Component list </a:t>
            </a:r>
          </a:p>
        </p:txBody>
      </p:sp>
      <p:pic>
        <p:nvPicPr>
          <p:cNvPr id="1029" name="Picture 5">
            <a:extLst>
              <a:ext uri="{FF2B5EF4-FFF2-40B4-BE49-F238E27FC236}">
                <a16:creationId xmlns:a16="http://schemas.microsoft.com/office/drawing/2014/main" id="{61D27DBD-40D1-9EDB-4C9B-00D8FD2B96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33" y="1553687"/>
            <a:ext cx="7837478" cy="341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11">
            <a:extLst>
              <a:ext uri="{FF2B5EF4-FFF2-40B4-BE49-F238E27FC236}">
                <a16:creationId xmlns:a16="http://schemas.microsoft.com/office/drawing/2014/main" id="{14CEF055-C966-15BB-B390-311F73E153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1845523"/>
              </p:ext>
            </p:extLst>
          </p:nvPr>
        </p:nvGraphicFramePr>
        <p:xfrm>
          <a:off x="411479" y="5290078"/>
          <a:ext cx="6096000" cy="75984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18359446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4219380233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371736788"/>
                    </a:ext>
                  </a:extLst>
                </a:gridCol>
              </a:tblGrid>
              <a:tr h="247638">
                <a:tc>
                  <a:txBody>
                    <a:bodyPr/>
                    <a:lstStyle/>
                    <a:p>
                      <a:r>
                        <a:rPr lang="en-IN" sz="800" dirty="0"/>
                        <a:t>Power Automate </a:t>
                      </a:r>
                      <a:r>
                        <a:rPr lang="en-IN" sz="800" dirty="0" err="1"/>
                        <a:t>Trigers</a:t>
                      </a:r>
                      <a:r>
                        <a:rPr lang="en-IN" sz="800" dirty="0"/>
                        <a:t> / 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Trig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Frequen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371383"/>
                  </a:ext>
                </a:extLst>
              </a:tr>
              <a:tr h="256104">
                <a:tc>
                  <a:txBody>
                    <a:bodyPr/>
                    <a:lstStyle/>
                    <a:p>
                      <a:r>
                        <a:rPr lang="en-IN" sz="800" dirty="0"/>
                        <a:t>ORLI 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Apollo - When a new file arriv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Once in a d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0326769"/>
                  </a:ext>
                </a:extLst>
              </a:tr>
              <a:tr h="256104">
                <a:tc>
                  <a:txBody>
                    <a:bodyPr/>
                    <a:lstStyle/>
                    <a:p>
                      <a:r>
                        <a:rPr lang="en-IN" sz="800" dirty="0"/>
                        <a:t>Data From Stored Proced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Apollo - Schedule Trig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800" dirty="0"/>
                        <a:t>Once in every 4 h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3803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9829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709BA-6C02-0AC0-40F4-902CFE695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ifference in both the Approaches</a:t>
            </a:r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AE425979-CDA5-205F-FE5C-863C85900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0557932"/>
              </p:ext>
            </p:extLst>
          </p:nvPr>
        </p:nvGraphicFramePr>
        <p:xfrm>
          <a:off x="774699" y="1227666"/>
          <a:ext cx="10316634" cy="4781004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2920722">
                  <a:extLst>
                    <a:ext uri="{9D8B030D-6E8A-4147-A177-3AD203B41FA5}">
                      <a16:colId xmlns:a16="http://schemas.microsoft.com/office/drawing/2014/main" val="1793423184"/>
                    </a:ext>
                  </a:extLst>
                </a:gridCol>
                <a:gridCol w="2920722">
                  <a:extLst>
                    <a:ext uri="{9D8B030D-6E8A-4147-A177-3AD203B41FA5}">
                      <a16:colId xmlns:a16="http://schemas.microsoft.com/office/drawing/2014/main" val="3325821324"/>
                    </a:ext>
                  </a:extLst>
                </a:gridCol>
                <a:gridCol w="4475190">
                  <a:extLst>
                    <a:ext uri="{9D8B030D-6E8A-4147-A177-3AD203B41FA5}">
                      <a16:colId xmlns:a16="http://schemas.microsoft.com/office/drawing/2014/main" val="2666779430"/>
                    </a:ext>
                  </a:extLst>
                </a:gridCol>
              </a:tblGrid>
              <a:tr h="674914"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pproach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pproach-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7507380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dirty="0"/>
                        <a:t>Ease of Suppo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Medium (2 tea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Complex (3 team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50699395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dirty="0"/>
                        <a:t>Approach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File system connectors </a:t>
                      </a:r>
                    </a:p>
                    <a:p>
                      <a:r>
                        <a:rPr lang="en-IN" sz="1400" dirty="0"/>
                        <a:t>SQL connectors</a:t>
                      </a:r>
                    </a:p>
                    <a:p>
                      <a:r>
                        <a:rPr lang="en-IN" sz="1400" dirty="0"/>
                        <a:t>On-premise Data gatew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Apollo – old and tested appro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8676780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dirty="0"/>
                        <a:t>Techn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New re-usable techn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400" dirty="0"/>
                        <a:t>Not scalable approach as Apollo has to re-do it for new projec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4145972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dirty="0"/>
                        <a:t>Cost of Suppo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Comparatively low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Comparatively High </a:t>
                      </a:r>
                    </a:p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5583136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r>
                        <a:rPr lang="en-IN" sz="1400" dirty="0"/>
                        <a:t>Cost of Develop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Comparatively low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/>
                        <a:t>Comparatively High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34366390"/>
                  </a:ext>
                </a:extLst>
              </a:tr>
              <a:tr h="674914">
                <a:tc>
                  <a:txBody>
                    <a:bodyPr/>
                    <a:lstStyle/>
                    <a:p>
                      <a:endParaRPr lang="en-IN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8519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23545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6A740-15A7-CD03-9B67-700358F66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isk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ED7D57-CAC6-FA79-8DFD-90CCF000D087}"/>
              </a:ext>
            </a:extLst>
          </p:cNvPr>
          <p:cNvSpPr txBox="1"/>
          <p:nvPr/>
        </p:nvSpPr>
        <p:spPr>
          <a:xfrm>
            <a:off x="411479" y="1143000"/>
            <a:ext cx="1130638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Consideration: </a:t>
            </a:r>
          </a:p>
          <a:p>
            <a:r>
              <a:rPr lang="en-IN" sz="1400" dirty="0"/>
              <a:t>AX  : An ERP (Enterprise Resource Planning) system is a software that integrates various </a:t>
            </a:r>
            <a:r>
              <a:rPr lang="en-IN" sz="1400" b="1" dirty="0"/>
              <a:t>business processes</a:t>
            </a:r>
            <a:r>
              <a:rPr lang="en-IN" sz="1400" dirty="0"/>
              <a:t> and </a:t>
            </a:r>
            <a:r>
              <a:rPr lang="en-IN" sz="1400" b="1" dirty="0"/>
              <a:t>data sources </a:t>
            </a:r>
            <a:r>
              <a:rPr lang="en-IN" sz="1400" dirty="0"/>
              <a:t>into a single platform, governed by </a:t>
            </a:r>
            <a:r>
              <a:rPr lang="en-IN" sz="1400" b="1" dirty="0"/>
              <a:t>access control.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93151814-89C2-A321-4F7D-3760BD950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5015962"/>
              </p:ext>
            </p:extLst>
          </p:nvPr>
        </p:nvGraphicFramePr>
        <p:xfrm>
          <a:off x="694266" y="2861733"/>
          <a:ext cx="10690013" cy="2429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293">
                  <a:extLst>
                    <a:ext uri="{9D8B030D-6E8A-4147-A177-3AD203B41FA5}">
                      <a16:colId xmlns:a16="http://schemas.microsoft.com/office/drawing/2014/main" val="1617332852"/>
                    </a:ext>
                  </a:extLst>
                </a:gridCol>
                <a:gridCol w="2641974">
                  <a:extLst>
                    <a:ext uri="{9D8B030D-6E8A-4147-A177-3AD203B41FA5}">
                      <a16:colId xmlns:a16="http://schemas.microsoft.com/office/drawing/2014/main" val="2819801879"/>
                    </a:ext>
                  </a:extLst>
                </a:gridCol>
                <a:gridCol w="7201746">
                  <a:extLst>
                    <a:ext uri="{9D8B030D-6E8A-4147-A177-3AD203B41FA5}">
                      <a16:colId xmlns:a16="http://schemas.microsoft.com/office/drawing/2014/main" val="1550797149"/>
                    </a:ext>
                  </a:extLst>
                </a:gridCol>
              </a:tblGrid>
              <a:tr h="406670">
                <a:tc>
                  <a:txBody>
                    <a:bodyPr/>
                    <a:lstStyle/>
                    <a:p>
                      <a:r>
                        <a:rPr lang="en-IN" dirty="0"/>
                        <a:t>Sr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Mitig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3552888"/>
                  </a:ext>
                </a:extLst>
              </a:tr>
              <a:tr h="701924">
                <a:tc>
                  <a:txBody>
                    <a:bodyPr/>
                    <a:lstStyle/>
                    <a:p>
                      <a:r>
                        <a:rPr lang="en-IN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SQL Stored proced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Need to be validated for </a:t>
                      </a:r>
                      <a:r>
                        <a:rPr lang="en-IN" b="1" dirty="0"/>
                        <a:t>business Process align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6158225"/>
                  </a:ext>
                </a:extLst>
              </a:tr>
              <a:tr h="406670">
                <a:tc>
                  <a:txBody>
                    <a:bodyPr/>
                    <a:lstStyle/>
                    <a:p>
                      <a:r>
                        <a:rPr lang="en-IN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Access Contr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dirty="0"/>
                        <a:t>App </a:t>
                      </a:r>
                      <a:r>
                        <a:rPr lang="en-IN" b="1" dirty="0"/>
                        <a:t>User access </a:t>
                      </a:r>
                      <a:r>
                        <a:rPr lang="en-IN" dirty="0"/>
                        <a:t>need to be </a:t>
                      </a:r>
                      <a:r>
                        <a:rPr lang="en-IN" b="1" dirty="0"/>
                        <a:t>restricted</a:t>
                      </a:r>
                      <a:r>
                        <a:rPr lang="en-IN" dirty="0"/>
                        <a:t> and aligned with business user, as the solution using Service Account app user will have access to these dat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3951539"/>
                  </a:ext>
                </a:extLst>
              </a:tr>
              <a:tr h="406670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24833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25086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60290-504A-4A3C-3126-F38FDAB34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UN – Cost Higher in Approach -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F011D3-34EB-2571-8EED-04DEA84C3848}"/>
              </a:ext>
            </a:extLst>
          </p:cNvPr>
          <p:cNvSpPr txBox="1"/>
          <p:nvPr/>
        </p:nvSpPr>
        <p:spPr>
          <a:xfrm>
            <a:off x="279400" y="1083733"/>
            <a:ext cx="40047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Support Activity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B3294E5-FD03-E635-48FA-AA2DF0B72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195120"/>
              </p:ext>
            </p:extLst>
          </p:nvPr>
        </p:nvGraphicFramePr>
        <p:xfrm>
          <a:off x="1283546" y="1899480"/>
          <a:ext cx="8825654" cy="2753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89608">
                  <a:extLst>
                    <a:ext uri="{9D8B030D-6E8A-4147-A177-3AD203B41FA5}">
                      <a16:colId xmlns:a16="http://schemas.microsoft.com/office/drawing/2014/main" val="1767691074"/>
                    </a:ext>
                  </a:extLst>
                </a:gridCol>
                <a:gridCol w="1365876">
                  <a:extLst>
                    <a:ext uri="{9D8B030D-6E8A-4147-A177-3AD203B41FA5}">
                      <a16:colId xmlns:a16="http://schemas.microsoft.com/office/drawing/2014/main" val="2191326518"/>
                    </a:ext>
                  </a:extLst>
                </a:gridCol>
                <a:gridCol w="2735085">
                  <a:extLst>
                    <a:ext uri="{9D8B030D-6E8A-4147-A177-3AD203B41FA5}">
                      <a16:colId xmlns:a16="http://schemas.microsoft.com/office/drawing/2014/main" val="916749193"/>
                    </a:ext>
                  </a:extLst>
                </a:gridCol>
                <a:gridCol w="2735085">
                  <a:extLst>
                    <a:ext uri="{9D8B030D-6E8A-4147-A177-3AD203B41FA5}">
                      <a16:colId xmlns:a16="http://schemas.microsoft.com/office/drawing/2014/main" val="22247186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IN" sz="1200" dirty="0"/>
                        <a:t>Exce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Power Platform Support tea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APOLLO (Approach -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9054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200" dirty="0"/>
                        <a:t>End User not able to access App (S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0681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200" dirty="0"/>
                        <a:t>Data related Exception </a:t>
                      </a:r>
                    </a:p>
                    <a:p>
                      <a:r>
                        <a:rPr lang="en-IN" sz="1200" dirty="0"/>
                        <a:t>( incid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809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200" dirty="0"/>
                        <a:t>Monit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3313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200" dirty="0"/>
                        <a:t>Change Management (C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5543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/>
                        <a:t>Maintenance  Activity</a:t>
                      </a:r>
                    </a:p>
                    <a:p>
                      <a:r>
                        <a:rPr lang="en-IN" sz="1200" dirty="0"/>
                        <a:t>(archival and clean-up process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800605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B7576D-0E96-AEBE-FEB9-2B13F81F1CE4}"/>
              </a:ext>
            </a:extLst>
          </p:cNvPr>
          <p:cNvCxnSpPr/>
          <p:nvPr/>
        </p:nvCxnSpPr>
        <p:spPr>
          <a:xfrm>
            <a:off x="3251200" y="1608667"/>
            <a:ext cx="0" cy="290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CA17A85-E307-89E5-03FF-30CDDD082D3C}"/>
              </a:ext>
            </a:extLst>
          </p:cNvPr>
          <p:cNvCxnSpPr/>
          <p:nvPr/>
        </p:nvCxnSpPr>
        <p:spPr>
          <a:xfrm>
            <a:off x="7366000" y="1608666"/>
            <a:ext cx="0" cy="290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CF4E4E1-5868-9BE3-1890-0F7C5D4FA0EF}"/>
              </a:ext>
            </a:extLst>
          </p:cNvPr>
          <p:cNvCxnSpPr/>
          <p:nvPr/>
        </p:nvCxnSpPr>
        <p:spPr>
          <a:xfrm>
            <a:off x="3251200" y="1754073"/>
            <a:ext cx="4114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F07C25-D6C9-D93E-FE0D-A52F0C1255A2}"/>
              </a:ext>
            </a:extLst>
          </p:cNvPr>
          <p:cNvCxnSpPr>
            <a:cxnSpLocks/>
          </p:cNvCxnSpPr>
          <p:nvPr/>
        </p:nvCxnSpPr>
        <p:spPr>
          <a:xfrm>
            <a:off x="3251200" y="1124466"/>
            <a:ext cx="0" cy="290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37E2F1-BBC0-6481-868B-F5941962852A}"/>
              </a:ext>
            </a:extLst>
          </p:cNvPr>
          <p:cNvCxnSpPr>
            <a:cxnSpLocks/>
          </p:cNvCxnSpPr>
          <p:nvPr/>
        </p:nvCxnSpPr>
        <p:spPr>
          <a:xfrm>
            <a:off x="10109200" y="1122992"/>
            <a:ext cx="0" cy="2908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0F53321-6FAA-4E38-A022-CDF8EA92B1D7}"/>
              </a:ext>
            </a:extLst>
          </p:cNvPr>
          <p:cNvCxnSpPr>
            <a:cxnSpLocks/>
          </p:cNvCxnSpPr>
          <p:nvPr/>
        </p:nvCxnSpPr>
        <p:spPr>
          <a:xfrm>
            <a:off x="3251200" y="1234404"/>
            <a:ext cx="685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4D4EF28-DA92-064C-2B5C-1AA2E5A85B81}"/>
              </a:ext>
            </a:extLst>
          </p:cNvPr>
          <p:cNvSpPr txBox="1"/>
          <p:nvPr/>
        </p:nvSpPr>
        <p:spPr>
          <a:xfrm>
            <a:off x="5325532" y="1056266"/>
            <a:ext cx="23367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 dirty="0"/>
              <a:t>Approach -2 (three teams involved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975DC24-0D41-A6D4-3B13-FD5F2CD98FE9}"/>
              </a:ext>
            </a:extLst>
          </p:cNvPr>
          <p:cNvSpPr txBox="1"/>
          <p:nvPr/>
        </p:nvSpPr>
        <p:spPr>
          <a:xfrm>
            <a:off x="4343403" y="1573098"/>
            <a:ext cx="23367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b="1" dirty="0"/>
              <a:t>Approach -1 (Two teams involved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A2D16CD-E445-BF29-714A-800480742856}"/>
              </a:ext>
            </a:extLst>
          </p:cNvPr>
          <p:cNvSpPr txBox="1"/>
          <p:nvPr/>
        </p:nvSpPr>
        <p:spPr>
          <a:xfrm>
            <a:off x="1283546" y="4741333"/>
            <a:ext cx="20523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X = applicable</a:t>
            </a:r>
          </a:p>
          <a:p>
            <a:r>
              <a:rPr lang="en-IN" sz="1000" dirty="0"/>
              <a:t>- = not Applicab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4C94D5-60F4-AAFC-3959-483B1D233247}"/>
              </a:ext>
            </a:extLst>
          </p:cNvPr>
          <p:cNvSpPr txBox="1"/>
          <p:nvPr/>
        </p:nvSpPr>
        <p:spPr>
          <a:xfrm>
            <a:off x="635000" y="5300133"/>
            <a:ext cx="92032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Approach-2 is costlier based on involvement of 3 teams with comparing to 2 teams in Approach -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roubleshooting and maintenance will be easier in Approach-1 with only 2 teams involved</a:t>
            </a:r>
          </a:p>
        </p:txBody>
      </p:sp>
    </p:spTree>
    <p:extLst>
      <p:ext uri="{BB962C8B-B14F-4D97-AF65-F5344CB8AC3E}">
        <p14:creationId xmlns:p14="http://schemas.microsoft.com/office/powerpoint/2010/main" val="884735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c7af6dba-f870-40c6-a7fb-5991d73382c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2023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HANEL Phoenix PPT Template - BASIC.potx" id="{E1D47D88-DC65-4C53-A8BA-B3055BC3CFAE}" vid="{DEFD8777-E47C-4745-B21B-D8A6BB285D22}"/>
    </a:ext>
  </a:extLst>
</a:theme>
</file>

<file path=ppt/theme/theme2.xml><?xml version="1.0" encoding="utf-8"?>
<a:theme xmlns:a="http://schemas.openxmlformats.org/drawingml/2006/main" name="Office Theme">
  <a:themeElements>
    <a:clrScheme name="Phoenix">
      <a:dk1>
        <a:sysClr val="windowText" lastClr="000000"/>
      </a:dk1>
      <a:lt1>
        <a:sysClr val="window" lastClr="FFFFFF"/>
      </a:lt1>
      <a:dk2>
        <a:srgbClr val="2D004B"/>
      </a:dk2>
      <a:lt2>
        <a:srgbClr val="E7E6E6"/>
      </a:lt2>
      <a:accent1>
        <a:srgbClr val="2D004B"/>
      </a:accent1>
      <a:accent2>
        <a:srgbClr val="A63B4C"/>
      </a:accent2>
      <a:accent3>
        <a:srgbClr val="852131"/>
      </a:accent3>
      <a:accent4>
        <a:srgbClr val="D5596D"/>
      </a:accent4>
      <a:accent5>
        <a:srgbClr val="FFC000"/>
      </a:accent5>
      <a:accent6>
        <a:srgbClr val="757070"/>
      </a:accent6>
      <a:hlink>
        <a:srgbClr val="553C82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A751F823ABC548AB2C88F72C2F596F" ma:contentTypeVersion="8" ma:contentTypeDescription="Create a new document." ma:contentTypeScope="" ma:versionID="79a76160406ce7bc656114698e9e30df">
  <xsd:schema xmlns:xsd="http://www.w3.org/2001/XMLSchema" xmlns:xs="http://www.w3.org/2001/XMLSchema" xmlns:p="http://schemas.microsoft.com/office/2006/metadata/properties" xmlns:ns2="54b4d3c8-cf41-497e-9c09-b5ac5f42148f" xmlns:ns3="185898cf-eaee-4999-99a5-0cfaab1f07d5" targetNamespace="http://schemas.microsoft.com/office/2006/metadata/properties" ma:root="true" ma:fieldsID="64aa10d355041739fae8b06da5c84ea1" ns2:_="" ns3:_="">
    <xsd:import namespace="54b4d3c8-cf41-497e-9c09-b5ac5f42148f"/>
    <xsd:import namespace="185898cf-eaee-4999-99a5-0cfaab1f07d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b4d3c8-cf41-497e-9c09-b5ac5f4214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5898cf-eaee-4999-99a5-0cfaab1f07d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53CF01E-E5F4-4634-8A93-5BE6F53285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b4d3c8-cf41-497e-9c09-b5ac5f42148f"/>
    <ds:schemaRef ds:uri="185898cf-eaee-4999-99a5-0cfaab1f07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765F6DA-EDFD-4C3F-B2EB-EDE359E124E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3c60ab19-700e-4cc3-885c-e2bc8d836a05"/>
    <ds:schemaRef ds:uri="0eabe5d5-a1ad-4d8a-bc74-fff09ecba500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ANEL Phoenix PPT Template - BASIC</Template>
  <TotalTime>1801</TotalTime>
  <Words>894</Words>
  <Application>Microsoft Office PowerPoint</Application>
  <PresentationFormat>Widescreen</PresentationFormat>
  <Paragraphs>242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Ubuntu</vt:lpstr>
      <vt:lpstr>Trebuchet MS</vt:lpstr>
      <vt:lpstr>Wingdings</vt:lpstr>
      <vt:lpstr>Century Gothic</vt:lpstr>
      <vt:lpstr>Arial</vt:lpstr>
      <vt:lpstr>Ubuntu Medium</vt:lpstr>
      <vt:lpstr>Aptos</vt:lpstr>
      <vt:lpstr>Ubuntu Light</vt:lpstr>
      <vt:lpstr>Capgemini2023</vt:lpstr>
      <vt:lpstr>Office Theme</vt:lpstr>
      <vt:lpstr>think-cell Slide</vt:lpstr>
      <vt:lpstr>     FA-REWORK POWER APPS SOLUTION - POC</vt:lpstr>
      <vt:lpstr>AGENDA</vt:lpstr>
      <vt:lpstr>Summary – Benefits of Both approach  </vt:lpstr>
      <vt:lpstr>Detail slides</vt:lpstr>
      <vt:lpstr>AX+ Power Platform Solution – Approach 1</vt:lpstr>
      <vt:lpstr>AX + Apollo + Power Platform Solution – Approach 2</vt:lpstr>
      <vt:lpstr>Difference in both the Approaches</vt:lpstr>
      <vt:lpstr>Risks </vt:lpstr>
      <vt:lpstr>RUN – Cost Higher in Approach -2</vt:lpstr>
      <vt:lpstr>Future D365 integration with Approach-1, Approach -2 is possible</vt:lpstr>
      <vt:lpstr>PowerPoint Presentation</vt:lpstr>
      <vt:lpstr>App Screenshots</vt:lpstr>
      <vt:lpstr>App Screenshots</vt:lpstr>
      <vt:lpstr>App Screensho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Capgemini template</dc:subject>
  <dc:creator>Thankappan, Dilip</dc:creator>
  <cp:lastModifiedBy>Thankappan, Dilip</cp:lastModifiedBy>
  <cp:revision>1</cp:revision>
  <cp:lastPrinted>1999-12-31T18:30:00Z</cp:lastPrinted>
  <dcterms:created xsi:type="dcterms:W3CDTF">2023-08-17T04:07:29Z</dcterms:created>
  <dcterms:modified xsi:type="dcterms:W3CDTF">2024-02-29T08:09:30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A751F823ABC548AB2C88F72C2F596F</vt:lpwstr>
  </property>
</Properties>
</file>